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tiff" ContentType="image/tiff"/>
  <Default Extension="xlsx" ContentType="application/vnd.openxmlformats-officedocument.spreadsheetml.sheet"/>
  <Default Extension="vml" ContentType="application/vnd.openxmlformats-officedocument.vmlDrawing"/>
  <Default Extension="wdp" ContentType="image/vnd.ms-photo"/>
  <Default Extension="rels" ContentType="application/vnd.openxmlformats-package.relationships+xml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1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4.xml" ContentType="application/vnd.openxmlformats-officedocument.them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5.xml" ContentType="application/vnd.openxmlformats-officedocument.them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6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7.xml" ContentType="application/vnd.openxmlformats-officedocument.them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8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9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406.xml" ContentType="application/vnd.openxmlformats-officedocument.presentationml.tags+xml"/>
  <Override PartName="/ppt/notesSlides/notesSlide1.xml" ContentType="application/vnd.openxmlformats-officedocument.presentationml.notesSlid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notesSlides/notesSlide2.xml" ContentType="application/vnd.openxmlformats-officedocument.presentationml.notesSlide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</p:sldMasterIdLst>
  <p:notesMasterIdLst>
    <p:notesMasterId r:id="rId26"/>
  </p:notesMasterIdLst>
  <p:handoutMasterIdLst>
    <p:handoutMasterId r:id="rId27"/>
  </p:handoutMasterIdLst>
  <p:sldIdLst>
    <p:sldId id="661" r:id="rId20"/>
    <p:sldId id="671" r:id="rId21"/>
    <p:sldId id="672" r:id="rId22"/>
    <p:sldId id="673" r:id="rId23"/>
    <p:sldId id="674" r:id="rId24"/>
    <p:sldId id="675" r:id="rId25"/>
  </p:sldIdLst>
  <p:sldSz cx="11949113" cy="6721475"/>
  <p:notesSz cx="9236075" cy="6954838"/>
  <p:custDataLst>
    <p:tags r:id="rId2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99" autoAdjust="0"/>
    <p:restoredTop sz="96699" autoAdjust="0"/>
  </p:normalViewPr>
  <p:slideViewPr>
    <p:cSldViewPr snapToGrid="0" snapToObjects="1">
      <p:cViewPr varScale="1">
        <p:scale>
          <a:sx n="207" d="100"/>
          <a:sy n="207" d="100"/>
        </p:scale>
        <p:origin x="632" y="176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.xml"/><Relationship Id="rId21" Type="http://schemas.openxmlformats.org/officeDocument/2006/relationships/slide" Target="slides/slide2.xml"/><Relationship Id="rId22" Type="http://schemas.openxmlformats.org/officeDocument/2006/relationships/slide" Target="slides/slide3.xml"/><Relationship Id="rId23" Type="http://schemas.openxmlformats.org/officeDocument/2006/relationships/slide" Target="slides/slide4.xml"/><Relationship Id="rId24" Type="http://schemas.openxmlformats.org/officeDocument/2006/relationships/slide" Target="slides/slide5.xml"/><Relationship Id="rId25" Type="http://schemas.openxmlformats.org/officeDocument/2006/relationships/slide" Target="slides/slide6.xml"/><Relationship Id="rId26" Type="http://schemas.openxmlformats.org/officeDocument/2006/relationships/notesMaster" Target="notesMasters/notesMaster1.xml"/><Relationship Id="rId27" Type="http://schemas.openxmlformats.org/officeDocument/2006/relationships/handoutMaster" Target="handoutMasters/handoutMaster1.xml"/><Relationship Id="rId28" Type="http://schemas.openxmlformats.org/officeDocument/2006/relationships/tags" Target="tags/tag1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presProps" Target="presProps.xml"/><Relationship Id="rId31" Type="http://schemas.openxmlformats.org/officeDocument/2006/relationships/viewProps" Target="viewProps.xml"/><Relationship Id="rId32" Type="http://schemas.openxmlformats.org/officeDocument/2006/relationships/theme" Target="theme/theme1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tableStyles" Target="tableStyles.xml"/><Relationship Id="rId37" Type="http://schemas.microsoft.com/office/2015/10/relationships/revisionInfo" Target="revisionInfo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72251308900524"/>
          <c:y val="0.0263558033451597"/>
          <c:w val="0.945549738219895"/>
          <c:h val="0.94728839330968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</c:dPt>
          <c:val>
            <c:numRef>
              <c:f>Sheet1!$A$1:$C$1</c:f>
              <c:numCache>
                <c:formatCode>General</c:formatCode>
                <c:ptCount val="3"/>
                <c:pt idx="0">
                  <c:v>70.0</c:v>
                </c:pt>
                <c:pt idx="1">
                  <c:v>58.0</c:v>
                </c:pt>
                <c:pt idx="2">
                  <c:v>16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011301776"/>
        <c:axId val="-1011299728"/>
      </c:barChart>
      <c:catAx>
        <c:axId val="-10113017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rgbClr val="808080"/>
            </a:solidFill>
            <a:prstDash val="solid"/>
          </a:ln>
        </c:spPr>
        <c:crossAx val="-1011299728"/>
        <c:crosses val="min"/>
        <c:auto val="0"/>
        <c:lblAlgn val="ctr"/>
        <c:lblOffset val="100"/>
        <c:noMultiLvlLbl val="0"/>
      </c:catAx>
      <c:valAx>
        <c:axId val="-1011299728"/>
        <c:scaling>
          <c:orientation val="minMax"/>
          <c:max val="70.0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10113017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72251308900524"/>
          <c:y val="0.0263558033451597"/>
          <c:w val="0.945549738219895"/>
          <c:h val="0.94728839330968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</c:dPt>
          <c:val>
            <c:numRef>
              <c:f>Sheet1!$A$1:$C$1</c:f>
              <c:numCache>
                <c:formatCode>General</c:formatCode>
                <c:ptCount val="3"/>
                <c:pt idx="0">
                  <c:v>88.03260869565213</c:v>
                </c:pt>
                <c:pt idx="1">
                  <c:v>6.0</c:v>
                </c:pt>
                <c:pt idx="2">
                  <c:v>13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453842384"/>
        <c:axId val="-1453379424"/>
      </c:barChart>
      <c:catAx>
        <c:axId val="-1453842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rgbClr val="808080"/>
            </a:solidFill>
            <a:prstDash val="solid"/>
          </a:ln>
        </c:spPr>
        <c:crossAx val="-1453379424"/>
        <c:crosses val="min"/>
        <c:auto val="0"/>
        <c:lblAlgn val="ctr"/>
        <c:lblOffset val="100"/>
        <c:noMultiLvlLbl val="0"/>
      </c:catAx>
      <c:valAx>
        <c:axId val="-1453379424"/>
        <c:scaling>
          <c:orientation val="minMax"/>
          <c:max val="88.03260869565213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1453842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470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4783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94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5.vml"/><Relationship Id="rId2" Type="http://schemas.openxmlformats.org/officeDocument/2006/relationships/tags" Target="../tags/tag6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0.vml"/><Relationship Id="rId2" Type="http://schemas.openxmlformats.org/officeDocument/2006/relationships/tags" Target="../tags/tag8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2.vml"/><Relationship Id="rId2" Type="http://schemas.openxmlformats.org/officeDocument/2006/relationships/tags" Target="../tags/tag10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4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4.vml"/><Relationship Id="rId2" Type="http://schemas.openxmlformats.org/officeDocument/2006/relationships/tags" Target="../tags/tag1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9.vml"/><Relationship Id="rId2" Type="http://schemas.openxmlformats.org/officeDocument/2006/relationships/tags" Target="../tags/tag13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2.emf"/><Relationship Id="rId6" Type="http://schemas.openxmlformats.org/officeDocument/2006/relationships/image" Target="../media/image8.jpg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10.png"/><Relationship Id="rId1" Type="http://schemas.openxmlformats.org/officeDocument/2006/relationships/vmlDrawing" Target="../drawings/vmlDrawing32.vml"/><Relationship Id="rId2" Type="http://schemas.openxmlformats.org/officeDocument/2006/relationships/tags" Target="../tags/tag15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3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3.vml"/><Relationship Id="rId2" Type="http://schemas.openxmlformats.org/officeDocument/2006/relationships/tags" Target="../tags/tag15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8.vml"/><Relationship Id="rId2" Type="http://schemas.openxmlformats.org/officeDocument/2006/relationships/tags" Target="../tags/tag17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3.vml"/><Relationship Id="rId2" Type="http://schemas.openxmlformats.org/officeDocument/2006/relationships/tags" Target="../tags/tag19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8.vml"/><Relationship Id="rId2" Type="http://schemas.openxmlformats.org/officeDocument/2006/relationships/tags" Target="../tags/tag21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3.vml"/><Relationship Id="rId2" Type="http://schemas.openxmlformats.org/officeDocument/2006/relationships/tags" Target="../tags/tag23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8.vml"/><Relationship Id="rId2" Type="http://schemas.openxmlformats.org/officeDocument/2006/relationships/tags" Target="../tags/tag25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2" Type="http://schemas.openxmlformats.org/officeDocument/2006/relationships/tags" Target="../tags/tag2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3.vml"/><Relationship Id="rId2" Type="http://schemas.openxmlformats.org/officeDocument/2006/relationships/tags" Target="../tags/tag28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8.vml"/><Relationship Id="rId2" Type="http://schemas.openxmlformats.org/officeDocument/2006/relationships/tags" Target="../tags/tag30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3.vml"/><Relationship Id="rId2" Type="http://schemas.openxmlformats.org/officeDocument/2006/relationships/tags" Target="../tags/tag32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2.emf"/><Relationship Id="rId6" Type="http://schemas.openxmlformats.org/officeDocument/2006/relationships/image" Target="../media/image8.jpg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8.vml"/><Relationship Id="rId2" Type="http://schemas.openxmlformats.org/officeDocument/2006/relationships/tags" Target="../tags/tag34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3.vml"/><Relationship Id="rId2" Type="http://schemas.openxmlformats.org/officeDocument/2006/relationships/tags" Target="../tags/tag36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7.vml"/><Relationship Id="rId2" Type="http://schemas.openxmlformats.org/officeDocument/2006/relationships/tags" Target="../tags/tag38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10.png"/><Relationship Id="rId1" Type="http://schemas.openxmlformats.org/officeDocument/2006/relationships/vmlDrawing" Target="../drawings/vmlDrawing9.vml"/><Relationship Id="rId2" Type="http://schemas.openxmlformats.org/officeDocument/2006/relationships/tags" Target="../tags/tag4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2.vml"/><Relationship Id="rId2" Type="http://schemas.openxmlformats.org/officeDocument/2006/relationships/tags" Target="../tags/tag40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10.vml"/><Relationship Id="rId2" Type="http://schemas.openxmlformats.org/officeDocument/2006/relationships/tags" Target="../tags/tag4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1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7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0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2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5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0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3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1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2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5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4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7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6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9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1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5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4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8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5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116838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2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5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1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3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5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0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2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5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=""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7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4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5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0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7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5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3.xml"/><Relationship Id="rId20" Type="http://schemas.openxmlformats.org/officeDocument/2006/relationships/tags" Target="../tags/tag14.xml"/><Relationship Id="rId21" Type="http://schemas.openxmlformats.org/officeDocument/2006/relationships/tags" Target="../tags/tag15.xml"/><Relationship Id="rId22" Type="http://schemas.openxmlformats.org/officeDocument/2006/relationships/tags" Target="../tags/tag16.xml"/><Relationship Id="rId23" Type="http://schemas.openxmlformats.org/officeDocument/2006/relationships/tags" Target="../tags/tag17.xml"/><Relationship Id="rId24" Type="http://schemas.openxmlformats.org/officeDocument/2006/relationships/tags" Target="../tags/tag18.xml"/><Relationship Id="rId25" Type="http://schemas.openxmlformats.org/officeDocument/2006/relationships/oleObject" Target="../embeddings/oleObject1.bin"/><Relationship Id="rId26" Type="http://schemas.openxmlformats.org/officeDocument/2006/relationships/image" Target="../media/image1.emf"/><Relationship Id="rId10" Type="http://schemas.openxmlformats.org/officeDocument/2006/relationships/tags" Target="../tags/tag4.xml"/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tags" Target="../tags/tag7.xml"/><Relationship Id="rId14" Type="http://schemas.openxmlformats.org/officeDocument/2006/relationships/tags" Target="../tags/tag8.xml"/><Relationship Id="rId15" Type="http://schemas.openxmlformats.org/officeDocument/2006/relationships/tags" Target="../tags/tag9.xml"/><Relationship Id="rId16" Type="http://schemas.openxmlformats.org/officeDocument/2006/relationships/tags" Target="../tags/tag10.xml"/><Relationship Id="rId17" Type="http://schemas.openxmlformats.org/officeDocument/2006/relationships/tags" Target="../tags/tag11.xml"/><Relationship Id="rId18" Type="http://schemas.openxmlformats.org/officeDocument/2006/relationships/tags" Target="../tags/tag12.xml"/><Relationship Id="rId1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9.xml"/><Relationship Id="rId20" Type="http://schemas.openxmlformats.org/officeDocument/2006/relationships/tags" Target="../tags/tag210.xml"/><Relationship Id="rId21" Type="http://schemas.openxmlformats.org/officeDocument/2006/relationships/tags" Target="../tags/tag211.xml"/><Relationship Id="rId22" Type="http://schemas.openxmlformats.org/officeDocument/2006/relationships/tags" Target="../tags/tag212.xml"/><Relationship Id="rId23" Type="http://schemas.openxmlformats.org/officeDocument/2006/relationships/tags" Target="../tags/tag213.xml"/><Relationship Id="rId24" Type="http://schemas.openxmlformats.org/officeDocument/2006/relationships/oleObject" Target="../embeddings/oleObject44.bin"/><Relationship Id="rId25" Type="http://schemas.openxmlformats.org/officeDocument/2006/relationships/image" Target="../media/image1.emf"/><Relationship Id="rId10" Type="http://schemas.openxmlformats.org/officeDocument/2006/relationships/tags" Target="../tags/tag200.xml"/><Relationship Id="rId11" Type="http://schemas.openxmlformats.org/officeDocument/2006/relationships/tags" Target="../tags/tag201.xml"/><Relationship Id="rId12" Type="http://schemas.openxmlformats.org/officeDocument/2006/relationships/tags" Target="../tags/tag202.xml"/><Relationship Id="rId13" Type="http://schemas.openxmlformats.org/officeDocument/2006/relationships/tags" Target="../tags/tag203.xml"/><Relationship Id="rId14" Type="http://schemas.openxmlformats.org/officeDocument/2006/relationships/tags" Target="../tags/tag204.xml"/><Relationship Id="rId15" Type="http://schemas.openxmlformats.org/officeDocument/2006/relationships/tags" Target="../tags/tag205.xml"/><Relationship Id="rId16" Type="http://schemas.openxmlformats.org/officeDocument/2006/relationships/tags" Target="../tags/tag206.xml"/><Relationship Id="rId17" Type="http://schemas.openxmlformats.org/officeDocument/2006/relationships/tags" Target="../tags/tag207.xml"/><Relationship Id="rId18" Type="http://schemas.openxmlformats.org/officeDocument/2006/relationships/tags" Target="../tags/tag208.xml"/><Relationship Id="rId19" Type="http://schemas.openxmlformats.org/officeDocument/2006/relationships/tags" Target="../tags/tag209.xml"/><Relationship Id="rId1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8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4.vml"/><Relationship Id="rId7" Type="http://schemas.openxmlformats.org/officeDocument/2006/relationships/tags" Target="../tags/tag197.xml"/><Relationship Id="rId8" Type="http://schemas.openxmlformats.org/officeDocument/2006/relationships/tags" Target="../tags/tag198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20.xml"/><Relationship Id="rId20" Type="http://schemas.openxmlformats.org/officeDocument/2006/relationships/tags" Target="../tags/tag231.xml"/><Relationship Id="rId21" Type="http://schemas.openxmlformats.org/officeDocument/2006/relationships/tags" Target="../tags/tag232.xml"/><Relationship Id="rId22" Type="http://schemas.openxmlformats.org/officeDocument/2006/relationships/tags" Target="../tags/tag233.xml"/><Relationship Id="rId23" Type="http://schemas.openxmlformats.org/officeDocument/2006/relationships/tags" Target="../tags/tag234.xml"/><Relationship Id="rId24" Type="http://schemas.openxmlformats.org/officeDocument/2006/relationships/oleObject" Target="../embeddings/oleObject49.bin"/><Relationship Id="rId25" Type="http://schemas.openxmlformats.org/officeDocument/2006/relationships/image" Target="../media/image1.emf"/><Relationship Id="rId10" Type="http://schemas.openxmlformats.org/officeDocument/2006/relationships/tags" Target="../tags/tag221.xml"/><Relationship Id="rId11" Type="http://schemas.openxmlformats.org/officeDocument/2006/relationships/tags" Target="../tags/tag222.xml"/><Relationship Id="rId12" Type="http://schemas.openxmlformats.org/officeDocument/2006/relationships/tags" Target="../tags/tag223.xml"/><Relationship Id="rId13" Type="http://schemas.openxmlformats.org/officeDocument/2006/relationships/tags" Target="../tags/tag224.xml"/><Relationship Id="rId14" Type="http://schemas.openxmlformats.org/officeDocument/2006/relationships/tags" Target="../tags/tag225.xml"/><Relationship Id="rId15" Type="http://schemas.openxmlformats.org/officeDocument/2006/relationships/tags" Target="../tags/tag226.xml"/><Relationship Id="rId16" Type="http://schemas.openxmlformats.org/officeDocument/2006/relationships/tags" Target="../tags/tag227.xml"/><Relationship Id="rId17" Type="http://schemas.openxmlformats.org/officeDocument/2006/relationships/tags" Target="../tags/tag228.xml"/><Relationship Id="rId18" Type="http://schemas.openxmlformats.org/officeDocument/2006/relationships/tags" Target="../tags/tag229.xml"/><Relationship Id="rId19" Type="http://schemas.openxmlformats.org/officeDocument/2006/relationships/tags" Target="../tags/tag230.xml"/><Relationship Id="rId1" Type="http://schemas.openxmlformats.org/officeDocument/2006/relationships/slideLayout" Target="../slideLayouts/slideLayout39.xml"/><Relationship Id="rId2" Type="http://schemas.openxmlformats.org/officeDocument/2006/relationships/slideLayout" Target="../slideLayouts/slideLayout40.xml"/><Relationship Id="rId3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2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9.vml"/><Relationship Id="rId7" Type="http://schemas.openxmlformats.org/officeDocument/2006/relationships/tags" Target="../tags/tag218.xml"/><Relationship Id="rId8" Type="http://schemas.openxmlformats.org/officeDocument/2006/relationships/tags" Target="../tags/tag219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1.xml"/><Relationship Id="rId20" Type="http://schemas.openxmlformats.org/officeDocument/2006/relationships/tags" Target="../tags/tag252.xml"/><Relationship Id="rId21" Type="http://schemas.openxmlformats.org/officeDocument/2006/relationships/tags" Target="../tags/tag253.xml"/><Relationship Id="rId22" Type="http://schemas.openxmlformats.org/officeDocument/2006/relationships/tags" Target="../tags/tag254.xml"/><Relationship Id="rId23" Type="http://schemas.openxmlformats.org/officeDocument/2006/relationships/tags" Target="../tags/tag255.xml"/><Relationship Id="rId24" Type="http://schemas.openxmlformats.org/officeDocument/2006/relationships/oleObject" Target="../embeddings/oleObject54.bin"/><Relationship Id="rId25" Type="http://schemas.openxmlformats.org/officeDocument/2006/relationships/image" Target="../media/image1.emf"/><Relationship Id="rId10" Type="http://schemas.openxmlformats.org/officeDocument/2006/relationships/tags" Target="../tags/tag242.xml"/><Relationship Id="rId11" Type="http://schemas.openxmlformats.org/officeDocument/2006/relationships/tags" Target="../tags/tag243.xml"/><Relationship Id="rId12" Type="http://schemas.openxmlformats.org/officeDocument/2006/relationships/tags" Target="../tags/tag244.xml"/><Relationship Id="rId13" Type="http://schemas.openxmlformats.org/officeDocument/2006/relationships/tags" Target="../tags/tag245.xml"/><Relationship Id="rId14" Type="http://schemas.openxmlformats.org/officeDocument/2006/relationships/tags" Target="../tags/tag246.xml"/><Relationship Id="rId15" Type="http://schemas.openxmlformats.org/officeDocument/2006/relationships/tags" Target="../tags/tag247.xml"/><Relationship Id="rId16" Type="http://schemas.openxmlformats.org/officeDocument/2006/relationships/tags" Target="../tags/tag248.xml"/><Relationship Id="rId17" Type="http://schemas.openxmlformats.org/officeDocument/2006/relationships/tags" Target="../tags/tag249.xml"/><Relationship Id="rId18" Type="http://schemas.openxmlformats.org/officeDocument/2006/relationships/tags" Target="../tags/tag250.xml"/><Relationship Id="rId19" Type="http://schemas.openxmlformats.org/officeDocument/2006/relationships/tags" Target="../tags/tag251.xml"/><Relationship Id="rId1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4.vml"/><Relationship Id="rId7" Type="http://schemas.openxmlformats.org/officeDocument/2006/relationships/tags" Target="../tags/tag239.xml"/><Relationship Id="rId8" Type="http://schemas.openxmlformats.org/officeDocument/2006/relationships/tags" Target="../tags/tag240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2.xml"/><Relationship Id="rId20" Type="http://schemas.openxmlformats.org/officeDocument/2006/relationships/tags" Target="../tags/tag273.xml"/><Relationship Id="rId21" Type="http://schemas.openxmlformats.org/officeDocument/2006/relationships/tags" Target="../tags/tag274.xml"/><Relationship Id="rId22" Type="http://schemas.openxmlformats.org/officeDocument/2006/relationships/tags" Target="../tags/tag275.xml"/><Relationship Id="rId23" Type="http://schemas.openxmlformats.org/officeDocument/2006/relationships/tags" Target="../tags/tag276.xml"/><Relationship Id="rId24" Type="http://schemas.openxmlformats.org/officeDocument/2006/relationships/oleObject" Target="../embeddings/oleObject59.bin"/><Relationship Id="rId25" Type="http://schemas.openxmlformats.org/officeDocument/2006/relationships/image" Target="../media/image1.emf"/><Relationship Id="rId10" Type="http://schemas.openxmlformats.org/officeDocument/2006/relationships/tags" Target="../tags/tag263.xml"/><Relationship Id="rId11" Type="http://schemas.openxmlformats.org/officeDocument/2006/relationships/tags" Target="../tags/tag264.xml"/><Relationship Id="rId12" Type="http://schemas.openxmlformats.org/officeDocument/2006/relationships/tags" Target="../tags/tag265.xml"/><Relationship Id="rId13" Type="http://schemas.openxmlformats.org/officeDocument/2006/relationships/tags" Target="../tags/tag266.xml"/><Relationship Id="rId14" Type="http://schemas.openxmlformats.org/officeDocument/2006/relationships/tags" Target="../tags/tag267.xml"/><Relationship Id="rId15" Type="http://schemas.openxmlformats.org/officeDocument/2006/relationships/tags" Target="../tags/tag268.xml"/><Relationship Id="rId16" Type="http://schemas.openxmlformats.org/officeDocument/2006/relationships/tags" Target="../tags/tag269.xml"/><Relationship Id="rId17" Type="http://schemas.openxmlformats.org/officeDocument/2006/relationships/tags" Target="../tags/tag270.xml"/><Relationship Id="rId18" Type="http://schemas.openxmlformats.org/officeDocument/2006/relationships/tags" Target="../tags/tag271.xml"/><Relationship Id="rId19" Type="http://schemas.openxmlformats.org/officeDocument/2006/relationships/tags" Target="../tags/tag272.xml"/><Relationship Id="rId1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9.xml"/><Relationship Id="rId4" Type="http://schemas.openxmlformats.org/officeDocument/2006/relationships/slideLayout" Target="../slideLayouts/slideLayout50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9.vml"/><Relationship Id="rId7" Type="http://schemas.openxmlformats.org/officeDocument/2006/relationships/tags" Target="../tags/tag260.xml"/><Relationship Id="rId8" Type="http://schemas.openxmlformats.org/officeDocument/2006/relationships/tags" Target="../tags/tag261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3.xml"/><Relationship Id="rId20" Type="http://schemas.openxmlformats.org/officeDocument/2006/relationships/tags" Target="../tags/tag294.xml"/><Relationship Id="rId21" Type="http://schemas.openxmlformats.org/officeDocument/2006/relationships/tags" Target="../tags/tag295.xml"/><Relationship Id="rId22" Type="http://schemas.openxmlformats.org/officeDocument/2006/relationships/tags" Target="../tags/tag296.xml"/><Relationship Id="rId23" Type="http://schemas.openxmlformats.org/officeDocument/2006/relationships/tags" Target="../tags/tag297.xml"/><Relationship Id="rId24" Type="http://schemas.openxmlformats.org/officeDocument/2006/relationships/oleObject" Target="../embeddings/oleObject64.bin"/><Relationship Id="rId25" Type="http://schemas.openxmlformats.org/officeDocument/2006/relationships/image" Target="../media/image1.emf"/><Relationship Id="rId10" Type="http://schemas.openxmlformats.org/officeDocument/2006/relationships/tags" Target="../tags/tag284.xml"/><Relationship Id="rId11" Type="http://schemas.openxmlformats.org/officeDocument/2006/relationships/tags" Target="../tags/tag285.xml"/><Relationship Id="rId12" Type="http://schemas.openxmlformats.org/officeDocument/2006/relationships/tags" Target="../tags/tag286.xml"/><Relationship Id="rId13" Type="http://schemas.openxmlformats.org/officeDocument/2006/relationships/tags" Target="../tags/tag287.xml"/><Relationship Id="rId14" Type="http://schemas.openxmlformats.org/officeDocument/2006/relationships/tags" Target="../tags/tag288.xml"/><Relationship Id="rId15" Type="http://schemas.openxmlformats.org/officeDocument/2006/relationships/tags" Target="../tags/tag289.xml"/><Relationship Id="rId16" Type="http://schemas.openxmlformats.org/officeDocument/2006/relationships/tags" Target="../tags/tag290.xml"/><Relationship Id="rId17" Type="http://schemas.openxmlformats.org/officeDocument/2006/relationships/tags" Target="../tags/tag291.xml"/><Relationship Id="rId18" Type="http://schemas.openxmlformats.org/officeDocument/2006/relationships/tags" Target="../tags/tag292.xml"/><Relationship Id="rId19" Type="http://schemas.openxmlformats.org/officeDocument/2006/relationships/tags" Target="../tags/tag293.xml"/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4.vml"/><Relationship Id="rId7" Type="http://schemas.openxmlformats.org/officeDocument/2006/relationships/tags" Target="../tags/tag281.xml"/><Relationship Id="rId8" Type="http://schemas.openxmlformats.org/officeDocument/2006/relationships/tags" Target="../tags/tag282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4.xml"/><Relationship Id="rId20" Type="http://schemas.openxmlformats.org/officeDocument/2006/relationships/tags" Target="../tags/tag315.xml"/><Relationship Id="rId21" Type="http://schemas.openxmlformats.org/officeDocument/2006/relationships/tags" Target="../tags/tag316.xml"/><Relationship Id="rId22" Type="http://schemas.openxmlformats.org/officeDocument/2006/relationships/tags" Target="../tags/tag317.xml"/><Relationship Id="rId23" Type="http://schemas.openxmlformats.org/officeDocument/2006/relationships/tags" Target="../tags/tag318.xml"/><Relationship Id="rId24" Type="http://schemas.openxmlformats.org/officeDocument/2006/relationships/oleObject" Target="../embeddings/oleObject69.bin"/><Relationship Id="rId25" Type="http://schemas.openxmlformats.org/officeDocument/2006/relationships/image" Target="../media/image1.emf"/><Relationship Id="rId10" Type="http://schemas.openxmlformats.org/officeDocument/2006/relationships/tags" Target="../tags/tag305.xml"/><Relationship Id="rId11" Type="http://schemas.openxmlformats.org/officeDocument/2006/relationships/tags" Target="../tags/tag306.xml"/><Relationship Id="rId12" Type="http://schemas.openxmlformats.org/officeDocument/2006/relationships/tags" Target="../tags/tag307.xml"/><Relationship Id="rId13" Type="http://schemas.openxmlformats.org/officeDocument/2006/relationships/tags" Target="../tags/tag308.xml"/><Relationship Id="rId14" Type="http://schemas.openxmlformats.org/officeDocument/2006/relationships/tags" Target="../tags/tag309.xml"/><Relationship Id="rId15" Type="http://schemas.openxmlformats.org/officeDocument/2006/relationships/tags" Target="../tags/tag310.xml"/><Relationship Id="rId16" Type="http://schemas.openxmlformats.org/officeDocument/2006/relationships/tags" Target="../tags/tag311.xml"/><Relationship Id="rId17" Type="http://schemas.openxmlformats.org/officeDocument/2006/relationships/tags" Target="../tags/tag312.xml"/><Relationship Id="rId18" Type="http://schemas.openxmlformats.org/officeDocument/2006/relationships/tags" Target="../tags/tag313.xml"/><Relationship Id="rId19" Type="http://schemas.openxmlformats.org/officeDocument/2006/relationships/tags" Target="../tags/tag314.xml"/><Relationship Id="rId1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8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9.vml"/><Relationship Id="rId7" Type="http://schemas.openxmlformats.org/officeDocument/2006/relationships/tags" Target="../tags/tag302.xml"/><Relationship Id="rId8" Type="http://schemas.openxmlformats.org/officeDocument/2006/relationships/tags" Target="../tags/tag303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5.xml"/><Relationship Id="rId20" Type="http://schemas.openxmlformats.org/officeDocument/2006/relationships/tags" Target="../tags/tag336.xml"/><Relationship Id="rId21" Type="http://schemas.openxmlformats.org/officeDocument/2006/relationships/tags" Target="../tags/tag337.xml"/><Relationship Id="rId22" Type="http://schemas.openxmlformats.org/officeDocument/2006/relationships/tags" Target="../tags/tag338.xml"/><Relationship Id="rId23" Type="http://schemas.openxmlformats.org/officeDocument/2006/relationships/tags" Target="../tags/tag339.xml"/><Relationship Id="rId24" Type="http://schemas.openxmlformats.org/officeDocument/2006/relationships/oleObject" Target="../embeddings/oleObject74.bin"/><Relationship Id="rId25" Type="http://schemas.openxmlformats.org/officeDocument/2006/relationships/image" Target="../media/image1.emf"/><Relationship Id="rId10" Type="http://schemas.openxmlformats.org/officeDocument/2006/relationships/tags" Target="../tags/tag326.xml"/><Relationship Id="rId11" Type="http://schemas.openxmlformats.org/officeDocument/2006/relationships/tags" Target="../tags/tag327.xml"/><Relationship Id="rId12" Type="http://schemas.openxmlformats.org/officeDocument/2006/relationships/tags" Target="../tags/tag328.xml"/><Relationship Id="rId13" Type="http://schemas.openxmlformats.org/officeDocument/2006/relationships/tags" Target="../tags/tag329.xml"/><Relationship Id="rId14" Type="http://schemas.openxmlformats.org/officeDocument/2006/relationships/tags" Target="../tags/tag330.xml"/><Relationship Id="rId15" Type="http://schemas.openxmlformats.org/officeDocument/2006/relationships/tags" Target="../tags/tag331.xml"/><Relationship Id="rId16" Type="http://schemas.openxmlformats.org/officeDocument/2006/relationships/tags" Target="../tags/tag332.xml"/><Relationship Id="rId17" Type="http://schemas.openxmlformats.org/officeDocument/2006/relationships/tags" Target="../tags/tag333.xml"/><Relationship Id="rId18" Type="http://schemas.openxmlformats.org/officeDocument/2006/relationships/tags" Target="../tags/tag334.xml"/><Relationship Id="rId19" Type="http://schemas.openxmlformats.org/officeDocument/2006/relationships/tags" Target="../tags/tag335.xml"/><Relationship Id="rId1" Type="http://schemas.openxmlformats.org/officeDocument/2006/relationships/slideLayout" Target="../slideLayouts/slideLayout59.xml"/><Relationship Id="rId2" Type="http://schemas.openxmlformats.org/officeDocument/2006/relationships/slideLayout" Target="../slideLayouts/slideLayout60.xml"/><Relationship Id="rId3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2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4.vml"/><Relationship Id="rId7" Type="http://schemas.openxmlformats.org/officeDocument/2006/relationships/tags" Target="../tags/tag323.xml"/><Relationship Id="rId8" Type="http://schemas.openxmlformats.org/officeDocument/2006/relationships/tags" Target="../tags/tag324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6.xml"/><Relationship Id="rId20" Type="http://schemas.openxmlformats.org/officeDocument/2006/relationships/tags" Target="../tags/tag357.xml"/><Relationship Id="rId21" Type="http://schemas.openxmlformats.org/officeDocument/2006/relationships/tags" Target="../tags/tag358.xml"/><Relationship Id="rId22" Type="http://schemas.openxmlformats.org/officeDocument/2006/relationships/tags" Target="../tags/tag359.xml"/><Relationship Id="rId23" Type="http://schemas.openxmlformats.org/officeDocument/2006/relationships/tags" Target="../tags/tag360.xml"/><Relationship Id="rId24" Type="http://schemas.openxmlformats.org/officeDocument/2006/relationships/oleObject" Target="../embeddings/oleObject79.bin"/><Relationship Id="rId25" Type="http://schemas.openxmlformats.org/officeDocument/2006/relationships/image" Target="../media/image1.emf"/><Relationship Id="rId10" Type="http://schemas.openxmlformats.org/officeDocument/2006/relationships/tags" Target="../tags/tag347.xml"/><Relationship Id="rId11" Type="http://schemas.openxmlformats.org/officeDocument/2006/relationships/tags" Target="../tags/tag348.xml"/><Relationship Id="rId12" Type="http://schemas.openxmlformats.org/officeDocument/2006/relationships/tags" Target="../tags/tag349.xml"/><Relationship Id="rId13" Type="http://schemas.openxmlformats.org/officeDocument/2006/relationships/tags" Target="../tags/tag350.xml"/><Relationship Id="rId14" Type="http://schemas.openxmlformats.org/officeDocument/2006/relationships/tags" Target="../tags/tag351.xml"/><Relationship Id="rId15" Type="http://schemas.openxmlformats.org/officeDocument/2006/relationships/tags" Target="../tags/tag352.xml"/><Relationship Id="rId16" Type="http://schemas.openxmlformats.org/officeDocument/2006/relationships/tags" Target="../tags/tag353.xml"/><Relationship Id="rId17" Type="http://schemas.openxmlformats.org/officeDocument/2006/relationships/tags" Target="../tags/tag354.xml"/><Relationship Id="rId18" Type="http://schemas.openxmlformats.org/officeDocument/2006/relationships/tags" Target="../tags/tag355.xml"/><Relationship Id="rId19" Type="http://schemas.openxmlformats.org/officeDocument/2006/relationships/tags" Target="../tags/tag356.xml"/><Relationship Id="rId1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4.xml"/><Relationship Id="rId3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6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9.vml"/><Relationship Id="rId7" Type="http://schemas.openxmlformats.org/officeDocument/2006/relationships/tags" Target="../tags/tag344.xml"/><Relationship Id="rId8" Type="http://schemas.openxmlformats.org/officeDocument/2006/relationships/tags" Target="../tags/tag345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8.xml"/><Relationship Id="rId20" Type="http://schemas.openxmlformats.org/officeDocument/2006/relationships/tags" Target="../tags/tag379.xml"/><Relationship Id="rId21" Type="http://schemas.openxmlformats.org/officeDocument/2006/relationships/tags" Target="../tags/tag380.xml"/><Relationship Id="rId22" Type="http://schemas.openxmlformats.org/officeDocument/2006/relationships/tags" Target="../tags/tag381.xml"/><Relationship Id="rId23" Type="http://schemas.openxmlformats.org/officeDocument/2006/relationships/oleObject" Target="../embeddings/oleObject84.bin"/><Relationship Id="rId24" Type="http://schemas.openxmlformats.org/officeDocument/2006/relationships/image" Target="../media/image1.emf"/><Relationship Id="rId10" Type="http://schemas.openxmlformats.org/officeDocument/2006/relationships/tags" Target="../tags/tag369.xml"/><Relationship Id="rId11" Type="http://schemas.openxmlformats.org/officeDocument/2006/relationships/tags" Target="../tags/tag370.xml"/><Relationship Id="rId12" Type="http://schemas.openxmlformats.org/officeDocument/2006/relationships/tags" Target="../tags/tag371.xml"/><Relationship Id="rId13" Type="http://schemas.openxmlformats.org/officeDocument/2006/relationships/tags" Target="../tags/tag372.xml"/><Relationship Id="rId14" Type="http://schemas.openxmlformats.org/officeDocument/2006/relationships/tags" Target="../tags/tag373.xml"/><Relationship Id="rId15" Type="http://schemas.openxmlformats.org/officeDocument/2006/relationships/tags" Target="../tags/tag374.xml"/><Relationship Id="rId16" Type="http://schemas.openxmlformats.org/officeDocument/2006/relationships/tags" Target="../tags/tag375.xml"/><Relationship Id="rId17" Type="http://schemas.openxmlformats.org/officeDocument/2006/relationships/tags" Target="../tags/tag376.xml"/><Relationship Id="rId18" Type="http://schemas.openxmlformats.org/officeDocument/2006/relationships/tags" Target="../tags/tag377.xml"/><Relationship Id="rId19" Type="http://schemas.openxmlformats.org/officeDocument/2006/relationships/tags" Target="../tags/tag378.xml"/><Relationship Id="rId1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9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4.vml"/><Relationship Id="rId6" Type="http://schemas.openxmlformats.org/officeDocument/2006/relationships/tags" Target="../tags/tag365.xml"/><Relationship Id="rId7" Type="http://schemas.openxmlformats.org/officeDocument/2006/relationships/tags" Target="../tags/tag366.xml"/><Relationship Id="rId8" Type="http://schemas.openxmlformats.org/officeDocument/2006/relationships/tags" Target="../tags/tag367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7.xml"/><Relationship Id="rId20" Type="http://schemas.openxmlformats.org/officeDocument/2006/relationships/tags" Target="../tags/tag398.xml"/><Relationship Id="rId21" Type="http://schemas.openxmlformats.org/officeDocument/2006/relationships/tags" Target="../tags/tag399.xml"/><Relationship Id="rId22" Type="http://schemas.openxmlformats.org/officeDocument/2006/relationships/tags" Target="../tags/tag400.xml"/><Relationship Id="rId23" Type="http://schemas.openxmlformats.org/officeDocument/2006/relationships/tags" Target="../tags/tag401.xml"/><Relationship Id="rId24" Type="http://schemas.openxmlformats.org/officeDocument/2006/relationships/oleObject" Target="../embeddings/oleObject88.bin"/><Relationship Id="rId25" Type="http://schemas.openxmlformats.org/officeDocument/2006/relationships/image" Target="../media/image1.emf"/><Relationship Id="rId10" Type="http://schemas.openxmlformats.org/officeDocument/2006/relationships/tags" Target="../tags/tag388.xml"/><Relationship Id="rId11" Type="http://schemas.openxmlformats.org/officeDocument/2006/relationships/tags" Target="../tags/tag389.xml"/><Relationship Id="rId12" Type="http://schemas.openxmlformats.org/officeDocument/2006/relationships/tags" Target="../tags/tag390.xml"/><Relationship Id="rId13" Type="http://schemas.openxmlformats.org/officeDocument/2006/relationships/tags" Target="../tags/tag391.xml"/><Relationship Id="rId14" Type="http://schemas.openxmlformats.org/officeDocument/2006/relationships/tags" Target="../tags/tag392.xml"/><Relationship Id="rId15" Type="http://schemas.openxmlformats.org/officeDocument/2006/relationships/tags" Target="../tags/tag393.xml"/><Relationship Id="rId16" Type="http://schemas.openxmlformats.org/officeDocument/2006/relationships/tags" Target="../tags/tag394.xml"/><Relationship Id="rId17" Type="http://schemas.openxmlformats.org/officeDocument/2006/relationships/tags" Target="../tags/tag395.xml"/><Relationship Id="rId18" Type="http://schemas.openxmlformats.org/officeDocument/2006/relationships/tags" Target="../tags/tag396.xml"/><Relationship Id="rId19" Type="http://schemas.openxmlformats.org/officeDocument/2006/relationships/tags" Target="../tags/tag397.xml"/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8.vml"/><Relationship Id="rId7" Type="http://schemas.openxmlformats.org/officeDocument/2006/relationships/tags" Target="../tags/tag385.xml"/><Relationship Id="rId8" Type="http://schemas.openxmlformats.org/officeDocument/2006/relationships/tags" Target="../tags/tag386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20" Type="http://schemas.openxmlformats.org/officeDocument/2006/relationships/tags" Target="../tags/tag38.xml"/><Relationship Id="rId21" Type="http://schemas.openxmlformats.org/officeDocument/2006/relationships/tags" Target="../tags/tag39.xml"/><Relationship Id="rId22" Type="http://schemas.openxmlformats.org/officeDocument/2006/relationships/tags" Target="../tags/tag40.xml"/><Relationship Id="rId23" Type="http://schemas.openxmlformats.org/officeDocument/2006/relationships/oleObject" Target="../embeddings/oleObject7.bin"/><Relationship Id="rId24" Type="http://schemas.openxmlformats.org/officeDocument/2006/relationships/image" Target="../media/image1.emf"/><Relationship Id="rId10" Type="http://schemas.openxmlformats.org/officeDocument/2006/relationships/tags" Target="../tags/tag28.xml"/><Relationship Id="rId11" Type="http://schemas.openxmlformats.org/officeDocument/2006/relationships/tags" Target="../tags/tag29.xml"/><Relationship Id="rId12" Type="http://schemas.openxmlformats.org/officeDocument/2006/relationships/tags" Target="../tags/tag30.xml"/><Relationship Id="rId13" Type="http://schemas.openxmlformats.org/officeDocument/2006/relationships/tags" Target="../tags/tag31.xml"/><Relationship Id="rId14" Type="http://schemas.openxmlformats.org/officeDocument/2006/relationships/tags" Target="../tags/tag32.xml"/><Relationship Id="rId15" Type="http://schemas.openxmlformats.org/officeDocument/2006/relationships/tags" Target="../tags/tag33.xml"/><Relationship Id="rId16" Type="http://schemas.openxmlformats.org/officeDocument/2006/relationships/tags" Target="../tags/tag34.xml"/><Relationship Id="rId17" Type="http://schemas.openxmlformats.org/officeDocument/2006/relationships/tags" Target="../tags/tag35.xml"/><Relationship Id="rId18" Type="http://schemas.openxmlformats.org/officeDocument/2006/relationships/tags" Target="../tags/tag36.xml"/><Relationship Id="rId19" Type="http://schemas.openxmlformats.org/officeDocument/2006/relationships/tags" Target="../tags/tag37.xml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slideLayout" Target="../slideLayouts/slideLayout8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7.v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8.xml"/><Relationship Id="rId20" Type="http://schemas.openxmlformats.org/officeDocument/2006/relationships/tags" Target="../tags/tag59.xml"/><Relationship Id="rId21" Type="http://schemas.openxmlformats.org/officeDocument/2006/relationships/tags" Target="../tags/tag60.xml"/><Relationship Id="rId22" Type="http://schemas.openxmlformats.org/officeDocument/2006/relationships/tags" Target="../tags/tag61.xml"/><Relationship Id="rId23" Type="http://schemas.openxmlformats.org/officeDocument/2006/relationships/tags" Target="../tags/tag62.xml"/><Relationship Id="rId24" Type="http://schemas.openxmlformats.org/officeDocument/2006/relationships/oleObject" Target="../embeddings/oleObject11.bin"/><Relationship Id="rId25" Type="http://schemas.openxmlformats.org/officeDocument/2006/relationships/image" Target="../media/image1.emf"/><Relationship Id="rId10" Type="http://schemas.openxmlformats.org/officeDocument/2006/relationships/tags" Target="../tags/tag49.xml"/><Relationship Id="rId11" Type="http://schemas.openxmlformats.org/officeDocument/2006/relationships/tags" Target="../tags/tag50.xml"/><Relationship Id="rId12" Type="http://schemas.openxmlformats.org/officeDocument/2006/relationships/tags" Target="../tags/tag51.xml"/><Relationship Id="rId13" Type="http://schemas.openxmlformats.org/officeDocument/2006/relationships/tags" Target="../tags/tag52.xml"/><Relationship Id="rId14" Type="http://schemas.openxmlformats.org/officeDocument/2006/relationships/tags" Target="../tags/tag53.xml"/><Relationship Id="rId15" Type="http://schemas.openxmlformats.org/officeDocument/2006/relationships/tags" Target="../tags/tag54.xml"/><Relationship Id="rId16" Type="http://schemas.openxmlformats.org/officeDocument/2006/relationships/tags" Target="../tags/tag55.xml"/><Relationship Id="rId17" Type="http://schemas.openxmlformats.org/officeDocument/2006/relationships/tags" Target="../tags/tag56.xml"/><Relationship Id="rId18" Type="http://schemas.openxmlformats.org/officeDocument/2006/relationships/tags" Target="../tags/tag57.xml"/><Relationship Id="rId19" Type="http://schemas.openxmlformats.org/officeDocument/2006/relationships/tags" Target="../tags/tag58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1.vml"/><Relationship Id="rId7" Type="http://schemas.openxmlformats.org/officeDocument/2006/relationships/tags" Target="../tags/tag46.xml"/><Relationship Id="rId8" Type="http://schemas.openxmlformats.org/officeDocument/2006/relationships/tags" Target="../tags/tag4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1.xml"/><Relationship Id="rId20" Type="http://schemas.openxmlformats.org/officeDocument/2006/relationships/tags" Target="../tags/tag82.xml"/><Relationship Id="rId21" Type="http://schemas.openxmlformats.org/officeDocument/2006/relationships/tags" Target="../tags/tag83.xml"/><Relationship Id="rId22" Type="http://schemas.openxmlformats.org/officeDocument/2006/relationships/tags" Target="../tags/tag84.xml"/><Relationship Id="rId23" Type="http://schemas.openxmlformats.org/officeDocument/2006/relationships/tags" Target="../tags/tag85.xml"/><Relationship Id="rId24" Type="http://schemas.openxmlformats.org/officeDocument/2006/relationships/oleObject" Target="../embeddings/oleObject16.bin"/><Relationship Id="rId25" Type="http://schemas.openxmlformats.org/officeDocument/2006/relationships/image" Target="../media/image1.emf"/><Relationship Id="rId10" Type="http://schemas.openxmlformats.org/officeDocument/2006/relationships/tags" Target="../tags/tag72.xml"/><Relationship Id="rId11" Type="http://schemas.openxmlformats.org/officeDocument/2006/relationships/tags" Target="../tags/tag73.xml"/><Relationship Id="rId12" Type="http://schemas.openxmlformats.org/officeDocument/2006/relationships/tags" Target="../tags/tag74.xml"/><Relationship Id="rId13" Type="http://schemas.openxmlformats.org/officeDocument/2006/relationships/tags" Target="../tags/tag75.xml"/><Relationship Id="rId14" Type="http://schemas.openxmlformats.org/officeDocument/2006/relationships/tags" Target="../tags/tag76.xml"/><Relationship Id="rId15" Type="http://schemas.openxmlformats.org/officeDocument/2006/relationships/tags" Target="../tags/tag77.xml"/><Relationship Id="rId16" Type="http://schemas.openxmlformats.org/officeDocument/2006/relationships/tags" Target="../tags/tag78.xml"/><Relationship Id="rId17" Type="http://schemas.openxmlformats.org/officeDocument/2006/relationships/tags" Target="../tags/tag79.xml"/><Relationship Id="rId18" Type="http://schemas.openxmlformats.org/officeDocument/2006/relationships/tags" Target="../tags/tag80.xml"/><Relationship Id="rId19" Type="http://schemas.openxmlformats.org/officeDocument/2006/relationships/tags" Target="../tags/tag81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6.vml"/><Relationship Id="rId7" Type="http://schemas.openxmlformats.org/officeDocument/2006/relationships/tags" Target="../tags/tag69.xml"/><Relationship Id="rId8" Type="http://schemas.openxmlformats.org/officeDocument/2006/relationships/tags" Target="../tags/tag70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3.xml"/><Relationship Id="rId20" Type="http://schemas.openxmlformats.org/officeDocument/2006/relationships/tags" Target="../tags/tag104.xml"/><Relationship Id="rId21" Type="http://schemas.openxmlformats.org/officeDocument/2006/relationships/tags" Target="../tags/tag105.xml"/><Relationship Id="rId22" Type="http://schemas.openxmlformats.org/officeDocument/2006/relationships/tags" Target="../tags/tag106.xml"/><Relationship Id="rId23" Type="http://schemas.openxmlformats.org/officeDocument/2006/relationships/oleObject" Target="../embeddings/oleObject21.bin"/><Relationship Id="rId24" Type="http://schemas.openxmlformats.org/officeDocument/2006/relationships/image" Target="../media/image1.emf"/><Relationship Id="rId10" Type="http://schemas.openxmlformats.org/officeDocument/2006/relationships/tags" Target="../tags/tag94.xml"/><Relationship Id="rId11" Type="http://schemas.openxmlformats.org/officeDocument/2006/relationships/tags" Target="../tags/tag95.xml"/><Relationship Id="rId12" Type="http://schemas.openxmlformats.org/officeDocument/2006/relationships/tags" Target="../tags/tag96.xml"/><Relationship Id="rId13" Type="http://schemas.openxmlformats.org/officeDocument/2006/relationships/tags" Target="../tags/tag97.xml"/><Relationship Id="rId14" Type="http://schemas.openxmlformats.org/officeDocument/2006/relationships/tags" Target="../tags/tag98.xml"/><Relationship Id="rId15" Type="http://schemas.openxmlformats.org/officeDocument/2006/relationships/tags" Target="../tags/tag99.xml"/><Relationship Id="rId16" Type="http://schemas.openxmlformats.org/officeDocument/2006/relationships/tags" Target="../tags/tag100.xml"/><Relationship Id="rId17" Type="http://schemas.openxmlformats.org/officeDocument/2006/relationships/tags" Target="../tags/tag101.xml"/><Relationship Id="rId18" Type="http://schemas.openxmlformats.org/officeDocument/2006/relationships/tags" Target="../tags/tag102.xml"/><Relationship Id="rId19" Type="http://schemas.openxmlformats.org/officeDocument/2006/relationships/tags" Target="../tags/tag103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1.vml"/><Relationship Id="rId6" Type="http://schemas.openxmlformats.org/officeDocument/2006/relationships/tags" Target="../tags/tag90.xml"/><Relationship Id="rId7" Type="http://schemas.openxmlformats.org/officeDocument/2006/relationships/tags" Target="../tags/tag91.xml"/><Relationship Id="rId8" Type="http://schemas.openxmlformats.org/officeDocument/2006/relationships/tags" Target="../tags/tag92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4.xml"/><Relationship Id="rId20" Type="http://schemas.openxmlformats.org/officeDocument/2006/relationships/tags" Target="../tags/tag125.xml"/><Relationship Id="rId21" Type="http://schemas.openxmlformats.org/officeDocument/2006/relationships/tags" Target="../tags/tag126.xml"/><Relationship Id="rId22" Type="http://schemas.openxmlformats.org/officeDocument/2006/relationships/tags" Target="../tags/tag127.xml"/><Relationship Id="rId23" Type="http://schemas.openxmlformats.org/officeDocument/2006/relationships/tags" Target="../tags/tag128.xml"/><Relationship Id="rId24" Type="http://schemas.openxmlformats.org/officeDocument/2006/relationships/oleObject" Target="../embeddings/oleObject25.bin"/><Relationship Id="rId25" Type="http://schemas.openxmlformats.org/officeDocument/2006/relationships/image" Target="../media/image1.emf"/><Relationship Id="rId10" Type="http://schemas.openxmlformats.org/officeDocument/2006/relationships/tags" Target="../tags/tag115.xml"/><Relationship Id="rId11" Type="http://schemas.openxmlformats.org/officeDocument/2006/relationships/tags" Target="../tags/tag116.xml"/><Relationship Id="rId12" Type="http://schemas.openxmlformats.org/officeDocument/2006/relationships/tags" Target="../tags/tag117.xml"/><Relationship Id="rId13" Type="http://schemas.openxmlformats.org/officeDocument/2006/relationships/tags" Target="../tags/tag118.xml"/><Relationship Id="rId14" Type="http://schemas.openxmlformats.org/officeDocument/2006/relationships/tags" Target="../tags/tag119.xml"/><Relationship Id="rId15" Type="http://schemas.openxmlformats.org/officeDocument/2006/relationships/tags" Target="../tags/tag120.xml"/><Relationship Id="rId16" Type="http://schemas.openxmlformats.org/officeDocument/2006/relationships/tags" Target="../tags/tag121.xml"/><Relationship Id="rId17" Type="http://schemas.openxmlformats.org/officeDocument/2006/relationships/tags" Target="../tags/tag122.xml"/><Relationship Id="rId18" Type="http://schemas.openxmlformats.org/officeDocument/2006/relationships/tags" Target="../tags/tag123.xml"/><Relationship Id="rId19" Type="http://schemas.openxmlformats.org/officeDocument/2006/relationships/tags" Target="../tags/tag124.x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5.vml"/><Relationship Id="rId7" Type="http://schemas.openxmlformats.org/officeDocument/2006/relationships/tags" Target="../tags/tag112.xml"/><Relationship Id="rId8" Type="http://schemas.openxmlformats.org/officeDocument/2006/relationships/tags" Target="../tags/tag11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6.xml"/><Relationship Id="rId20" Type="http://schemas.openxmlformats.org/officeDocument/2006/relationships/tags" Target="../tags/tag147.xml"/><Relationship Id="rId21" Type="http://schemas.openxmlformats.org/officeDocument/2006/relationships/tags" Target="../tags/tag148.xml"/><Relationship Id="rId22" Type="http://schemas.openxmlformats.org/officeDocument/2006/relationships/tags" Target="../tags/tag149.xml"/><Relationship Id="rId23" Type="http://schemas.openxmlformats.org/officeDocument/2006/relationships/oleObject" Target="../embeddings/oleObject30.bin"/><Relationship Id="rId24" Type="http://schemas.openxmlformats.org/officeDocument/2006/relationships/image" Target="../media/image1.emf"/><Relationship Id="rId10" Type="http://schemas.openxmlformats.org/officeDocument/2006/relationships/tags" Target="../tags/tag137.xml"/><Relationship Id="rId11" Type="http://schemas.openxmlformats.org/officeDocument/2006/relationships/tags" Target="../tags/tag138.xml"/><Relationship Id="rId12" Type="http://schemas.openxmlformats.org/officeDocument/2006/relationships/tags" Target="../tags/tag139.xml"/><Relationship Id="rId13" Type="http://schemas.openxmlformats.org/officeDocument/2006/relationships/tags" Target="../tags/tag140.xml"/><Relationship Id="rId14" Type="http://schemas.openxmlformats.org/officeDocument/2006/relationships/tags" Target="../tags/tag141.xml"/><Relationship Id="rId15" Type="http://schemas.openxmlformats.org/officeDocument/2006/relationships/tags" Target="../tags/tag142.xml"/><Relationship Id="rId16" Type="http://schemas.openxmlformats.org/officeDocument/2006/relationships/tags" Target="../tags/tag143.xml"/><Relationship Id="rId17" Type="http://schemas.openxmlformats.org/officeDocument/2006/relationships/tags" Target="../tags/tag144.xml"/><Relationship Id="rId18" Type="http://schemas.openxmlformats.org/officeDocument/2006/relationships/tags" Target="../tags/tag145.xml"/><Relationship Id="rId19" Type="http://schemas.openxmlformats.org/officeDocument/2006/relationships/tags" Target="../tags/tag146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30.vml"/><Relationship Id="rId6" Type="http://schemas.openxmlformats.org/officeDocument/2006/relationships/tags" Target="../tags/tag133.xml"/><Relationship Id="rId7" Type="http://schemas.openxmlformats.org/officeDocument/2006/relationships/tags" Target="../tags/tag134.xml"/><Relationship Id="rId8" Type="http://schemas.openxmlformats.org/officeDocument/2006/relationships/tags" Target="../tags/tag135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7.xml"/><Relationship Id="rId20" Type="http://schemas.openxmlformats.org/officeDocument/2006/relationships/tags" Target="../tags/tag168.xml"/><Relationship Id="rId21" Type="http://schemas.openxmlformats.org/officeDocument/2006/relationships/tags" Target="../tags/tag169.xml"/><Relationship Id="rId22" Type="http://schemas.openxmlformats.org/officeDocument/2006/relationships/tags" Target="../tags/tag170.xml"/><Relationship Id="rId23" Type="http://schemas.openxmlformats.org/officeDocument/2006/relationships/tags" Target="../tags/tag171.xml"/><Relationship Id="rId24" Type="http://schemas.openxmlformats.org/officeDocument/2006/relationships/oleObject" Target="../embeddings/oleObject34.bin"/><Relationship Id="rId25" Type="http://schemas.openxmlformats.org/officeDocument/2006/relationships/image" Target="../media/image1.emf"/><Relationship Id="rId10" Type="http://schemas.openxmlformats.org/officeDocument/2006/relationships/tags" Target="../tags/tag158.xml"/><Relationship Id="rId11" Type="http://schemas.openxmlformats.org/officeDocument/2006/relationships/tags" Target="../tags/tag159.xml"/><Relationship Id="rId12" Type="http://schemas.openxmlformats.org/officeDocument/2006/relationships/tags" Target="../tags/tag160.xml"/><Relationship Id="rId13" Type="http://schemas.openxmlformats.org/officeDocument/2006/relationships/tags" Target="../tags/tag161.xml"/><Relationship Id="rId14" Type="http://schemas.openxmlformats.org/officeDocument/2006/relationships/tags" Target="../tags/tag162.xml"/><Relationship Id="rId15" Type="http://schemas.openxmlformats.org/officeDocument/2006/relationships/tags" Target="../tags/tag163.xml"/><Relationship Id="rId16" Type="http://schemas.openxmlformats.org/officeDocument/2006/relationships/tags" Target="../tags/tag164.xml"/><Relationship Id="rId17" Type="http://schemas.openxmlformats.org/officeDocument/2006/relationships/tags" Target="../tags/tag165.xml"/><Relationship Id="rId18" Type="http://schemas.openxmlformats.org/officeDocument/2006/relationships/tags" Target="../tags/tag166.xml"/><Relationship Id="rId19" Type="http://schemas.openxmlformats.org/officeDocument/2006/relationships/tags" Target="../tags/tag167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4.vml"/><Relationship Id="rId7" Type="http://schemas.openxmlformats.org/officeDocument/2006/relationships/tags" Target="../tags/tag155.xml"/><Relationship Id="rId8" Type="http://schemas.openxmlformats.org/officeDocument/2006/relationships/tags" Target="../tags/tag156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8.xml"/><Relationship Id="rId20" Type="http://schemas.openxmlformats.org/officeDocument/2006/relationships/tags" Target="../tags/tag189.xml"/><Relationship Id="rId21" Type="http://schemas.openxmlformats.org/officeDocument/2006/relationships/tags" Target="../tags/tag190.xml"/><Relationship Id="rId22" Type="http://schemas.openxmlformats.org/officeDocument/2006/relationships/tags" Target="../tags/tag191.xml"/><Relationship Id="rId23" Type="http://schemas.openxmlformats.org/officeDocument/2006/relationships/tags" Target="../tags/tag192.xml"/><Relationship Id="rId24" Type="http://schemas.openxmlformats.org/officeDocument/2006/relationships/oleObject" Target="../embeddings/oleObject39.bin"/><Relationship Id="rId25" Type="http://schemas.openxmlformats.org/officeDocument/2006/relationships/image" Target="../media/image1.emf"/><Relationship Id="rId10" Type="http://schemas.openxmlformats.org/officeDocument/2006/relationships/tags" Target="../tags/tag179.xml"/><Relationship Id="rId11" Type="http://schemas.openxmlformats.org/officeDocument/2006/relationships/tags" Target="../tags/tag180.xml"/><Relationship Id="rId12" Type="http://schemas.openxmlformats.org/officeDocument/2006/relationships/tags" Target="../tags/tag181.xml"/><Relationship Id="rId13" Type="http://schemas.openxmlformats.org/officeDocument/2006/relationships/tags" Target="../tags/tag182.xml"/><Relationship Id="rId14" Type="http://schemas.openxmlformats.org/officeDocument/2006/relationships/tags" Target="../tags/tag183.xml"/><Relationship Id="rId15" Type="http://schemas.openxmlformats.org/officeDocument/2006/relationships/tags" Target="../tags/tag184.xml"/><Relationship Id="rId16" Type="http://schemas.openxmlformats.org/officeDocument/2006/relationships/tags" Target="../tags/tag185.xml"/><Relationship Id="rId17" Type="http://schemas.openxmlformats.org/officeDocument/2006/relationships/tags" Target="../tags/tag186.xml"/><Relationship Id="rId18" Type="http://schemas.openxmlformats.org/officeDocument/2006/relationships/tags" Target="../tags/tag187.xml"/><Relationship Id="rId19" Type="http://schemas.openxmlformats.org/officeDocument/2006/relationships/tags" Target="../tags/tag188.xml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9.vml"/><Relationship Id="rId7" Type="http://schemas.openxmlformats.org/officeDocument/2006/relationships/tags" Target="../tags/tag176.xml"/><Relationship Id="rId8" Type="http://schemas.openxmlformats.org/officeDocument/2006/relationships/tags" Target="../tags/tag1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  <p:sldLayoutId id="2147483789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4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9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3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7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8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7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3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5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2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1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59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2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99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6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0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8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0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5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93.bin"/><Relationship Id="rId6" Type="http://schemas.openxmlformats.org/officeDocument/2006/relationships/image" Target="../media/image4.emf"/><Relationship Id="rId7" Type="http://schemas.openxmlformats.org/officeDocument/2006/relationships/image" Target="../media/image14.jpg"/><Relationship Id="rId1" Type="http://schemas.openxmlformats.org/officeDocument/2006/relationships/vmlDrawing" Target="../drawings/vmlDrawing93.vml"/><Relationship Id="rId2" Type="http://schemas.openxmlformats.org/officeDocument/2006/relationships/tags" Target="../tags/tag40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08.xml"/><Relationship Id="rId4" Type="http://schemas.openxmlformats.org/officeDocument/2006/relationships/tags" Target="../tags/tag409.xml"/><Relationship Id="rId5" Type="http://schemas.openxmlformats.org/officeDocument/2006/relationships/tags" Target="../tags/tag410.xml"/><Relationship Id="rId6" Type="http://schemas.openxmlformats.org/officeDocument/2006/relationships/tags" Target="../tags/tag411.xml"/><Relationship Id="rId7" Type="http://schemas.openxmlformats.org/officeDocument/2006/relationships/slideLayout" Target="../slideLayouts/slideLayout19.xml"/><Relationship Id="rId8" Type="http://schemas.openxmlformats.org/officeDocument/2006/relationships/oleObject" Target="../embeddings/oleObject94.bin"/><Relationship Id="rId9" Type="http://schemas.openxmlformats.org/officeDocument/2006/relationships/image" Target="../media/image6.emf"/><Relationship Id="rId10" Type="http://schemas.openxmlformats.org/officeDocument/2006/relationships/image" Target="../media/image15.png"/><Relationship Id="rId11" Type="http://schemas.microsoft.com/office/2007/relationships/hdphoto" Target="../media/hdphoto1.wdp"/><Relationship Id="rId1" Type="http://schemas.openxmlformats.org/officeDocument/2006/relationships/vmlDrawing" Target="../drawings/vmlDrawing94.vml"/><Relationship Id="rId2" Type="http://schemas.openxmlformats.org/officeDocument/2006/relationships/tags" Target="../tags/tag407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tags" Target="../tags/tag421.xml"/><Relationship Id="rId12" Type="http://schemas.openxmlformats.org/officeDocument/2006/relationships/tags" Target="../tags/tag422.xml"/><Relationship Id="rId13" Type="http://schemas.openxmlformats.org/officeDocument/2006/relationships/tags" Target="../tags/tag423.xml"/><Relationship Id="rId14" Type="http://schemas.openxmlformats.org/officeDocument/2006/relationships/tags" Target="../tags/tag424.xml"/><Relationship Id="rId15" Type="http://schemas.openxmlformats.org/officeDocument/2006/relationships/tags" Target="../tags/tag425.xml"/><Relationship Id="rId16" Type="http://schemas.openxmlformats.org/officeDocument/2006/relationships/slideLayout" Target="../slideLayouts/slideLayout19.xml"/><Relationship Id="rId17" Type="http://schemas.openxmlformats.org/officeDocument/2006/relationships/oleObject" Target="../embeddings/oleObject95.bin"/><Relationship Id="rId18" Type="http://schemas.openxmlformats.org/officeDocument/2006/relationships/image" Target="../media/image12.emf"/><Relationship Id="rId1" Type="http://schemas.openxmlformats.org/officeDocument/2006/relationships/vmlDrawing" Target="../drawings/vmlDrawing95.vml"/><Relationship Id="rId2" Type="http://schemas.openxmlformats.org/officeDocument/2006/relationships/tags" Target="../tags/tag412.xml"/><Relationship Id="rId3" Type="http://schemas.openxmlformats.org/officeDocument/2006/relationships/tags" Target="../tags/tag413.xml"/><Relationship Id="rId4" Type="http://schemas.openxmlformats.org/officeDocument/2006/relationships/tags" Target="../tags/tag414.xml"/><Relationship Id="rId5" Type="http://schemas.openxmlformats.org/officeDocument/2006/relationships/tags" Target="../tags/tag415.xml"/><Relationship Id="rId6" Type="http://schemas.openxmlformats.org/officeDocument/2006/relationships/tags" Target="../tags/tag416.xml"/><Relationship Id="rId7" Type="http://schemas.openxmlformats.org/officeDocument/2006/relationships/tags" Target="../tags/tag417.xml"/><Relationship Id="rId8" Type="http://schemas.openxmlformats.org/officeDocument/2006/relationships/tags" Target="../tags/tag418.xml"/><Relationship Id="rId9" Type="http://schemas.openxmlformats.org/officeDocument/2006/relationships/tags" Target="../tags/tag419.xml"/><Relationship Id="rId10" Type="http://schemas.openxmlformats.org/officeDocument/2006/relationships/tags" Target="../tags/tag4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4" Type="http://schemas.openxmlformats.org/officeDocument/2006/relationships/slideLayout" Target="../slideLayouts/slideLayout19.xml"/><Relationship Id="rId5" Type="http://schemas.openxmlformats.org/officeDocument/2006/relationships/oleObject" Target="../embeddings/oleObject96.bin"/><Relationship Id="rId6" Type="http://schemas.openxmlformats.org/officeDocument/2006/relationships/image" Target="../media/image12.emf"/><Relationship Id="rId7" Type="http://schemas.openxmlformats.org/officeDocument/2006/relationships/image" Target="../media/image16.png"/><Relationship Id="rId1" Type="http://schemas.openxmlformats.org/officeDocument/2006/relationships/vmlDrawing" Target="../drawings/vmlDrawing96.vml"/><Relationship Id="rId2" Type="http://schemas.openxmlformats.org/officeDocument/2006/relationships/tags" Target="../tags/tag4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29.xml"/><Relationship Id="rId4" Type="http://schemas.openxmlformats.org/officeDocument/2006/relationships/tags" Target="../tags/tag430.xml"/><Relationship Id="rId5" Type="http://schemas.openxmlformats.org/officeDocument/2006/relationships/slideLayout" Target="../slideLayouts/slideLayout19.xml"/><Relationship Id="rId6" Type="http://schemas.openxmlformats.org/officeDocument/2006/relationships/notesSlide" Target="../notesSlides/notesSlide2.xml"/><Relationship Id="rId7" Type="http://schemas.openxmlformats.org/officeDocument/2006/relationships/image" Target="../media/image17.tiff"/><Relationship Id="rId8" Type="http://schemas.openxmlformats.org/officeDocument/2006/relationships/oleObject" Target="../embeddings/oleObject97.bin"/><Relationship Id="rId9" Type="http://schemas.openxmlformats.org/officeDocument/2006/relationships/image" Target="../media/image12.emf"/><Relationship Id="rId10" Type="http://schemas.openxmlformats.org/officeDocument/2006/relationships/image" Target="../media/image18.png"/><Relationship Id="rId11" Type="http://schemas.openxmlformats.org/officeDocument/2006/relationships/image" Target="../media/image19.tiff"/><Relationship Id="rId1" Type="http://schemas.openxmlformats.org/officeDocument/2006/relationships/vmlDrawing" Target="../drawings/vmlDrawing97.vml"/><Relationship Id="rId2" Type="http://schemas.openxmlformats.org/officeDocument/2006/relationships/tags" Target="../tags/tag428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438.xml"/><Relationship Id="rId20" Type="http://schemas.openxmlformats.org/officeDocument/2006/relationships/tags" Target="../tags/tag449.xml"/><Relationship Id="rId21" Type="http://schemas.openxmlformats.org/officeDocument/2006/relationships/tags" Target="../tags/tag450.xml"/><Relationship Id="rId22" Type="http://schemas.openxmlformats.org/officeDocument/2006/relationships/slideLayout" Target="../slideLayouts/slideLayout19.xml"/><Relationship Id="rId23" Type="http://schemas.openxmlformats.org/officeDocument/2006/relationships/notesSlide" Target="../notesSlides/notesSlide3.xml"/><Relationship Id="rId24" Type="http://schemas.openxmlformats.org/officeDocument/2006/relationships/oleObject" Target="../embeddings/oleObject98.bin"/><Relationship Id="rId25" Type="http://schemas.openxmlformats.org/officeDocument/2006/relationships/image" Target="../media/image12.emf"/><Relationship Id="rId26" Type="http://schemas.openxmlformats.org/officeDocument/2006/relationships/chart" Target="../charts/chart1.xml"/><Relationship Id="rId27" Type="http://schemas.openxmlformats.org/officeDocument/2006/relationships/chart" Target="../charts/chart2.xml"/><Relationship Id="rId10" Type="http://schemas.openxmlformats.org/officeDocument/2006/relationships/tags" Target="../tags/tag439.xml"/><Relationship Id="rId11" Type="http://schemas.openxmlformats.org/officeDocument/2006/relationships/tags" Target="../tags/tag440.xml"/><Relationship Id="rId12" Type="http://schemas.openxmlformats.org/officeDocument/2006/relationships/tags" Target="../tags/tag441.xml"/><Relationship Id="rId13" Type="http://schemas.openxmlformats.org/officeDocument/2006/relationships/tags" Target="../tags/tag442.xml"/><Relationship Id="rId14" Type="http://schemas.openxmlformats.org/officeDocument/2006/relationships/tags" Target="../tags/tag443.xml"/><Relationship Id="rId15" Type="http://schemas.openxmlformats.org/officeDocument/2006/relationships/tags" Target="../tags/tag444.xml"/><Relationship Id="rId16" Type="http://schemas.openxmlformats.org/officeDocument/2006/relationships/tags" Target="../tags/tag445.xml"/><Relationship Id="rId17" Type="http://schemas.openxmlformats.org/officeDocument/2006/relationships/tags" Target="../tags/tag446.xml"/><Relationship Id="rId18" Type="http://schemas.openxmlformats.org/officeDocument/2006/relationships/tags" Target="../tags/tag447.xml"/><Relationship Id="rId19" Type="http://schemas.openxmlformats.org/officeDocument/2006/relationships/tags" Target="../tags/tag448.xml"/><Relationship Id="rId1" Type="http://schemas.openxmlformats.org/officeDocument/2006/relationships/vmlDrawing" Target="../drawings/vmlDrawing98.vml"/><Relationship Id="rId2" Type="http://schemas.openxmlformats.org/officeDocument/2006/relationships/tags" Target="../tags/tag431.xml"/><Relationship Id="rId3" Type="http://schemas.openxmlformats.org/officeDocument/2006/relationships/tags" Target="../tags/tag432.xml"/><Relationship Id="rId4" Type="http://schemas.openxmlformats.org/officeDocument/2006/relationships/tags" Target="../tags/tag433.xml"/><Relationship Id="rId5" Type="http://schemas.openxmlformats.org/officeDocument/2006/relationships/tags" Target="../tags/tag434.xml"/><Relationship Id="rId6" Type="http://schemas.openxmlformats.org/officeDocument/2006/relationships/tags" Target="../tags/tag435.xml"/><Relationship Id="rId7" Type="http://schemas.openxmlformats.org/officeDocument/2006/relationships/tags" Target="../tags/tag436.xml"/><Relationship Id="rId8" Type="http://schemas.openxmlformats.org/officeDocument/2006/relationships/tags" Target="../tags/tag4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8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 type"/>
          <p:cNvSpPr txBox="1">
            <a:spLocks noChangeArrowheads="1"/>
          </p:cNvSpPr>
          <p:nvPr/>
        </p:nvSpPr>
        <p:spPr bwMode="gray">
          <a:xfrm>
            <a:off x="3024489" y="3208519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/>
              <a:t>Document for discussion | 15/01/2018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024489" y="2745264"/>
            <a:ext cx="8309252" cy="215444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GLOBAL MARKETING &amp; SALES</a:t>
            </a:r>
          </a:p>
        </p:txBody>
      </p:sp>
      <p:sp>
        <p:nvSpPr>
          <p:cNvPr id="14" name="Disclaimer-English (United States)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3024489" y="1434420"/>
            <a:ext cx="8309252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Emerging themes and first ide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CC147CE5-6FF0-4D3C-AC0E-C3D759A163F7}"/>
              </a:ext>
            </a:extLst>
          </p:cNvPr>
          <p:cNvSpPr txBox="1"/>
          <p:nvPr/>
        </p:nvSpPr>
        <p:spPr>
          <a:xfrm>
            <a:off x="6851650" y="493500"/>
            <a:ext cx="4858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FF0000"/>
                </a:solidFill>
              </a:rPr>
              <a:t>Working draft based on interviews as of 12/01/2017</a:t>
            </a: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1" b="9061"/>
          <a:stretch/>
        </p:blipFill>
        <p:spPr>
          <a:xfrm>
            <a:off x="-1" y="0"/>
            <a:ext cx="11949113" cy="67214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A9E06EA2-0554-4273-BF69-C246667F6CD0}"/>
              </a:ext>
            </a:extLst>
          </p:cNvPr>
          <p:cNvSpPr>
            <a:spLocks/>
          </p:cNvSpPr>
          <p:nvPr/>
        </p:nvSpPr>
        <p:spPr>
          <a:xfrm>
            <a:off x="-1" y="0"/>
            <a:ext cx="11949113" cy="6721475"/>
          </a:xfrm>
          <a:prstGeom prst="rect">
            <a:avLst/>
          </a:prstGeom>
          <a:solidFill>
            <a:schemeClr val="accent4">
              <a:alpha val="50000"/>
            </a:schemeClr>
          </a:solidFill>
          <a:ln w="31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008050E5-41DE-476C-94FB-C4CAD6DBC9E8}"/>
              </a:ext>
            </a:extLst>
          </p:cNvPr>
          <p:cNvSpPr txBox="1">
            <a:spLocks/>
          </p:cNvSpPr>
          <p:nvPr/>
        </p:nvSpPr>
        <p:spPr bwMode="gray">
          <a:xfrm>
            <a:off x="4234" y="2198384"/>
            <a:ext cx="11944878" cy="1310308"/>
          </a:xfrm>
          <a:prstGeom prst="rect">
            <a:avLst/>
          </a:prstGeom>
          <a:solidFill>
            <a:srgbClr val="0065BD">
              <a:alpha val="43137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000" kern="0" dirty="0" smtClean="0">
                <a:solidFill>
                  <a:schemeClr val="bg1"/>
                </a:solidFill>
              </a:rPr>
              <a:t>Client: </a:t>
            </a:r>
            <a:r>
              <a:rPr lang="en-US" sz="3000" kern="0" dirty="0">
                <a:solidFill>
                  <a:schemeClr val="bg1"/>
                </a:solidFill>
              </a:rPr>
              <a:t>Personalized inventory management using analytics</a:t>
            </a:r>
            <a:endParaRPr lang="en-US" sz="4800" kern="0" dirty="0">
              <a:solidFill>
                <a:schemeClr val="bg1"/>
              </a:solidFill>
            </a:endParaRPr>
          </a:p>
        </p:txBody>
      </p:sp>
      <p:sp>
        <p:nvSpPr>
          <p:cNvPr id="15" name="Document type">
            <a:extLst>
              <a:ext uri="{FF2B5EF4-FFF2-40B4-BE49-F238E27FC236}">
                <a16:creationId xmlns="" xmlns:a16="http://schemas.microsoft.com/office/drawing/2014/main" id="{13067FCC-0CB0-4896-A6E2-B310085778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5938" y="5012551"/>
            <a:ext cx="802821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Katharina Schumacher</a:t>
            </a:r>
          </a:p>
        </p:txBody>
      </p:sp>
      <p:sp>
        <p:nvSpPr>
          <p:cNvPr id="17" name="Disclaimer-template_Blue">
            <a:extLst>
              <a:ext uri="{FF2B5EF4-FFF2-40B4-BE49-F238E27FC236}">
                <a16:creationId xmlns="" xmlns:a16="http://schemas.microsoft.com/office/drawing/2014/main" id="{9FEA31A0-0683-4818-9E5E-EC510B2FE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938" y="5925006"/>
            <a:ext cx="802821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="" xmlns:a16="http://schemas.microsoft.com/office/drawing/2014/main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sz="1000" b="1" smtClean="0">
                <a:solidFill>
                  <a:srgbClr val="FFFFFF"/>
                </a:solidFill>
                <a:latin typeface="Arial" pitchFamily="34" charset="0"/>
              </a:rPr>
              <a:t>HIT025</a:t>
            </a:r>
            <a:endParaRPr lang="pl-PL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="" xmlns:a16="http://schemas.microsoft.com/office/drawing/2014/main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 smtClean="0">
                <a:solidFill>
                  <a:srgbClr val="FFFFFF"/>
                </a:solidFill>
                <a:latin typeface="Arial" pitchFamily="34" charset="0"/>
              </a:rPr>
              <a:t>TMT | Western Europe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85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8665921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25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2" name="Picture 61"/>
          <p:cNvPicPr>
            <a:picLocks/>
          </p:cNvPicPr>
          <p:nvPr/>
        </p:nvPicPr>
        <p:blipFill rotWithShape="1"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  <a14:imgEffect>
                      <a14:brightnessContrast brigh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69"/>
          <a:stretch/>
        </p:blipFill>
        <p:spPr>
          <a:xfrm>
            <a:off x="7636840" y="4010025"/>
            <a:ext cx="4312275" cy="2711450"/>
          </a:xfrm>
          <a:custGeom>
            <a:avLst/>
            <a:gdLst>
              <a:gd name="connsiteX0" fmla="*/ 1561421 w 4312275"/>
              <a:gd name="connsiteY0" fmla="*/ 0 h 2711450"/>
              <a:gd name="connsiteX1" fmla="*/ 4312275 w 4312275"/>
              <a:gd name="connsiteY1" fmla="*/ 0 h 2711450"/>
              <a:gd name="connsiteX2" fmla="*/ 4312275 w 4312275"/>
              <a:gd name="connsiteY2" fmla="*/ 2711450 h 2711450"/>
              <a:gd name="connsiteX3" fmla="*/ 0 w 4312275"/>
              <a:gd name="connsiteY3" fmla="*/ 2711450 h 271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2275" h="2711450">
                <a:moveTo>
                  <a:pt x="1561421" y="0"/>
                </a:moveTo>
                <a:lnTo>
                  <a:pt x="4312275" y="0"/>
                </a:lnTo>
                <a:lnTo>
                  <a:pt x="4312275" y="2711450"/>
                </a:lnTo>
                <a:lnTo>
                  <a:pt x="0" y="271145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/>
              <a:t>We used analytics to personalize seller management on a large scale </a:t>
            </a:r>
          </a:p>
        </p:txBody>
      </p:sp>
      <p:sp>
        <p:nvSpPr>
          <p:cNvPr id="8" name="AutoShape 250"/>
          <p:cNvSpPr>
            <a:spLocks noChangeArrowheads="1"/>
          </p:cNvSpPr>
          <p:nvPr/>
        </p:nvSpPr>
        <p:spPr bwMode="auto">
          <a:xfrm>
            <a:off x="475488" y="766941"/>
            <a:ext cx="8528050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</a:rPr>
              <a:t>Situation</a:t>
            </a:r>
            <a:endParaRPr lang="en-US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2" name="AutoShape 250"/>
          <p:cNvSpPr>
            <a:spLocks noChangeArrowheads="1"/>
          </p:cNvSpPr>
          <p:nvPr/>
        </p:nvSpPr>
        <p:spPr bwMode="auto">
          <a:xfrm>
            <a:off x="5504584" y="2644962"/>
            <a:ext cx="1310797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</a:rPr>
              <a:t>Impact</a:t>
            </a:r>
            <a:endParaRPr lang="en-US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grpSp>
        <p:nvGrpSpPr>
          <p:cNvPr id="45" name="Group 44"/>
          <p:cNvGrpSpPr>
            <a:grpSpLocks/>
          </p:cNvGrpSpPr>
          <p:nvPr/>
        </p:nvGrpSpPr>
        <p:grpSpPr>
          <a:xfrm>
            <a:off x="1733873" y="2670700"/>
            <a:ext cx="270596" cy="238950"/>
            <a:chOff x="3675290" y="867592"/>
            <a:chExt cx="614549" cy="542678"/>
          </a:xfrm>
          <a:solidFill>
            <a:schemeClr val="accent4"/>
          </a:solidFill>
        </p:grpSpPr>
        <p:sp>
          <p:nvSpPr>
            <p:cNvPr id="46" name="Freeform 58"/>
            <p:cNvSpPr>
              <a:spLocks noEditPoints="1"/>
            </p:cNvSpPr>
            <p:nvPr/>
          </p:nvSpPr>
          <p:spPr bwMode="auto">
            <a:xfrm>
              <a:off x="3675290" y="867592"/>
              <a:ext cx="296859" cy="298942"/>
            </a:xfrm>
            <a:custGeom>
              <a:avLst/>
              <a:gdLst>
                <a:gd name="T0" fmla="*/ 94 w 157"/>
                <a:gd name="T1" fmla="*/ 137 h 158"/>
                <a:gd name="T2" fmla="*/ 108 w 157"/>
                <a:gd name="T3" fmla="*/ 153 h 158"/>
                <a:gd name="T4" fmla="*/ 127 w 157"/>
                <a:gd name="T5" fmla="*/ 142 h 158"/>
                <a:gd name="T6" fmla="*/ 120 w 157"/>
                <a:gd name="T7" fmla="*/ 122 h 158"/>
                <a:gd name="T8" fmla="*/ 130 w 157"/>
                <a:gd name="T9" fmla="*/ 109 h 158"/>
                <a:gd name="T10" fmla="*/ 151 w 157"/>
                <a:gd name="T11" fmla="*/ 110 h 158"/>
                <a:gd name="T12" fmla="*/ 155 w 157"/>
                <a:gd name="T13" fmla="*/ 100 h 158"/>
                <a:gd name="T14" fmla="*/ 157 w 157"/>
                <a:gd name="T15" fmla="*/ 89 h 158"/>
                <a:gd name="T16" fmla="*/ 138 w 157"/>
                <a:gd name="T17" fmla="*/ 79 h 158"/>
                <a:gd name="T18" fmla="*/ 136 w 157"/>
                <a:gd name="T19" fmla="*/ 63 h 158"/>
                <a:gd name="T20" fmla="*/ 152 w 157"/>
                <a:gd name="T21" fmla="*/ 49 h 158"/>
                <a:gd name="T22" fmla="*/ 141 w 157"/>
                <a:gd name="T23" fmla="*/ 30 h 158"/>
                <a:gd name="T24" fmla="*/ 121 w 157"/>
                <a:gd name="T25" fmla="*/ 37 h 158"/>
                <a:gd name="T26" fmla="*/ 108 w 157"/>
                <a:gd name="T27" fmla="*/ 27 h 158"/>
                <a:gd name="T28" fmla="*/ 109 w 157"/>
                <a:gd name="T29" fmla="*/ 6 h 158"/>
                <a:gd name="T30" fmla="*/ 99 w 157"/>
                <a:gd name="T31" fmla="*/ 3 h 158"/>
                <a:gd name="T32" fmla="*/ 88 w 157"/>
                <a:gd name="T33" fmla="*/ 0 h 158"/>
                <a:gd name="T34" fmla="*/ 79 w 157"/>
                <a:gd name="T35" fmla="*/ 19 h 158"/>
                <a:gd name="T36" fmla="*/ 63 w 157"/>
                <a:gd name="T37" fmla="*/ 21 h 158"/>
                <a:gd name="T38" fmla="*/ 49 w 157"/>
                <a:gd name="T39" fmla="*/ 6 h 158"/>
                <a:gd name="T40" fmla="*/ 30 w 157"/>
                <a:gd name="T41" fmla="*/ 17 h 158"/>
                <a:gd name="T42" fmla="*/ 36 w 157"/>
                <a:gd name="T43" fmla="*/ 37 h 158"/>
                <a:gd name="T44" fmla="*/ 26 w 157"/>
                <a:gd name="T45" fmla="*/ 49 h 158"/>
                <a:gd name="T46" fmla="*/ 5 w 157"/>
                <a:gd name="T47" fmla="*/ 48 h 158"/>
                <a:gd name="T48" fmla="*/ 2 w 157"/>
                <a:gd name="T49" fmla="*/ 59 h 158"/>
                <a:gd name="T50" fmla="*/ 0 w 157"/>
                <a:gd name="T51" fmla="*/ 69 h 158"/>
                <a:gd name="T52" fmla="*/ 19 w 157"/>
                <a:gd name="T53" fmla="*/ 79 h 158"/>
                <a:gd name="T54" fmla="*/ 21 w 157"/>
                <a:gd name="T55" fmla="*/ 95 h 158"/>
                <a:gd name="T56" fmla="*/ 5 w 157"/>
                <a:gd name="T57" fmla="*/ 109 h 158"/>
                <a:gd name="T58" fmla="*/ 16 w 157"/>
                <a:gd name="T59" fmla="*/ 128 h 158"/>
                <a:gd name="T60" fmla="*/ 36 w 157"/>
                <a:gd name="T61" fmla="*/ 121 h 158"/>
                <a:gd name="T62" fmla="*/ 49 w 157"/>
                <a:gd name="T63" fmla="*/ 131 h 158"/>
                <a:gd name="T64" fmla="*/ 47 w 157"/>
                <a:gd name="T65" fmla="*/ 152 h 158"/>
                <a:gd name="T66" fmla="*/ 58 w 157"/>
                <a:gd name="T67" fmla="*/ 156 h 158"/>
                <a:gd name="T68" fmla="*/ 69 w 157"/>
                <a:gd name="T69" fmla="*/ 158 h 158"/>
                <a:gd name="T70" fmla="*/ 78 w 157"/>
                <a:gd name="T71" fmla="*/ 139 h 158"/>
                <a:gd name="T72" fmla="*/ 94 w 157"/>
                <a:gd name="T73" fmla="*/ 137 h 158"/>
                <a:gd name="T74" fmla="*/ 68 w 157"/>
                <a:gd name="T75" fmla="*/ 116 h 158"/>
                <a:gd name="T76" fmla="*/ 41 w 157"/>
                <a:gd name="T77" fmla="*/ 69 h 158"/>
                <a:gd name="T78" fmla="*/ 88 w 157"/>
                <a:gd name="T79" fmla="*/ 42 h 158"/>
                <a:gd name="T80" fmla="*/ 116 w 157"/>
                <a:gd name="T81" fmla="*/ 89 h 158"/>
                <a:gd name="T82" fmla="*/ 68 w 157"/>
                <a:gd name="T83" fmla="*/ 11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" h="158">
                  <a:moveTo>
                    <a:pt x="94" y="137"/>
                  </a:moveTo>
                  <a:cubicBezTo>
                    <a:pt x="108" y="153"/>
                    <a:pt x="108" y="153"/>
                    <a:pt x="108" y="153"/>
                  </a:cubicBezTo>
                  <a:cubicBezTo>
                    <a:pt x="115" y="150"/>
                    <a:pt x="121" y="146"/>
                    <a:pt x="127" y="142"/>
                  </a:cubicBezTo>
                  <a:cubicBezTo>
                    <a:pt x="120" y="122"/>
                    <a:pt x="120" y="122"/>
                    <a:pt x="120" y="122"/>
                  </a:cubicBezTo>
                  <a:cubicBezTo>
                    <a:pt x="124" y="118"/>
                    <a:pt x="128" y="114"/>
                    <a:pt x="130" y="109"/>
                  </a:cubicBezTo>
                  <a:cubicBezTo>
                    <a:pt x="151" y="110"/>
                    <a:pt x="151" y="110"/>
                    <a:pt x="151" y="110"/>
                  </a:cubicBezTo>
                  <a:cubicBezTo>
                    <a:pt x="153" y="107"/>
                    <a:pt x="154" y="103"/>
                    <a:pt x="155" y="100"/>
                  </a:cubicBezTo>
                  <a:cubicBezTo>
                    <a:pt x="156" y="96"/>
                    <a:pt x="157" y="93"/>
                    <a:pt x="157" y="89"/>
                  </a:cubicBezTo>
                  <a:cubicBezTo>
                    <a:pt x="138" y="79"/>
                    <a:pt x="138" y="79"/>
                    <a:pt x="138" y="79"/>
                  </a:cubicBezTo>
                  <a:cubicBezTo>
                    <a:pt x="138" y="74"/>
                    <a:pt x="137" y="69"/>
                    <a:pt x="136" y="63"/>
                  </a:cubicBezTo>
                  <a:cubicBezTo>
                    <a:pt x="152" y="49"/>
                    <a:pt x="152" y="49"/>
                    <a:pt x="152" y="49"/>
                  </a:cubicBezTo>
                  <a:cubicBezTo>
                    <a:pt x="149" y="43"/>
                    <a:pt x="145" y="36"/>
                    <a:pt x="141" y="30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17" y="33"/>
                    <a:pt x="113" y="30"/>
                    <a:pt x="108" y="27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6" y="5"/>
                    <a:pt x="102" y="4"/>
                    <a:pt x="99" y="3"/>
                  </a:cubicBezTo>
                  <a:cubicBezTo>
                    <a:pt x="95" y="2"/>
                    <a:pt x="92" y="1"/>
                    <a:pt x="88" y="0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3" y="19"/>
                    <a:pt x="68" y="20"/>
                    <a:pt x="63" y="21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2" y="8"/>
                    <a:pt x="35" y="12"/>
                    <a:pt x="30" y="1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2" y="40"/>
                    <a:pt x="29" y="45"/>
                    <a:pt x="26" y="49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4" y="52"/>
                    <a:pt x="3" y="55"/>
                    <a:pt x="2" y="59"/>
                  </a:cubicBezTo>
                  <a:cubicBezTo>
                    <a:pt x="1" y="62"/>
                    <a:pt x="0" y="66"/>
                    <a:pt x="0" y="6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8" y="84"/>
                    <a:pt x="19" y="90"/>
                    <a:pt x="21" y="95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8" y="116"/>
                    <a:pt x="11" y="122"/>
                    <a:pt x="16" y="128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40" y="125"/>
                    <a:pt x="44" y="128"/>
                    <a:pt x="49" y="131"/>
                  </a:cubicBezTo>
                  <a:cubicBezTo>
                    <a:pt x="47" y="152"/>
                    <a:pt x="47" y="152"/>
                    <a:pt x="47" y="152"/>
                  </a:cubicBezTo>
                  <a:cubicBezTo>
                    <a:pt x="51" y="154"/>
                    <a:pt x="54" y="155"/>
                    <a:pt x="58" y="156"/>
                  </a:cubicBezTo>
                  <a:cubicBezTo>
                    <a:pt x="61" y="157"/>
                    <a:pt x="65" y="157"/>
                    <a:pt x="69" y="158"/>
                  </a:cubicBezTo>
                  <a:cubicBezTo>
                    <a:pt x="78" y="139"/>
                    <a:pt x="78" y="139"/>
                    <a:pt x="78" y="139"/>
                  </a:cubicBezTo>
                  <a:cubicBezTo>
                    <a:pt x="84" y="139"/>
                    <a:pt x="89" y="138"/>
                    <a:pt x="94" y="137"/>
                  </a:cubicBezTo>
                  <a:close/>
                  <a:moveTo>
                    <a:pt x="68" y="116"/>
                  </a:moveTo>
                  <a:cubicBezTo>
                    <a:pt x="48" y="111"/>
                    <a:pt x="36" y="90"/>
                    <a:pt x="41" y="69"/>
                  </a:cubicBezTo>
                  <a:cubicBezTo>
                    <a:pt x="47" y="49"/>
                    <a:pt x="68" y="36"/>
                    <a:pt x="88" y="42"/>
                  </a:cubicBezTo>
                  <a:cubicBezTo>
                    <a:pt x="109" y="47"/>
                    <a:pt x="121" y="69"/>
                    <a:pt x="116" y="89"/>
                  </a:cubicBezTo>
                  <a:cubicBezTo>
                    <a:pt x="110" y="110"/>
                    <a:pt x="89" y="122"/>
                    <a:pt x="68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59"/>
            <p:cNvSpPr>
              <a:spLocks/>
            </p:cNvSpPr>
            <p:nvPr/>
          </p:nvSpPr>
          <p:spPr bwMode="auto">
            <a:xfrm>
              <a:off x="3790908" y="983211"/>
              <a:ext cx="65622" cy="68746"/>
            </a:xfrm>
            <a:custGeom>
              <a:avLst/>
              <a:gdLst>
                <a:gd name="T0" fmla="*/ 33 w 35"/>
                <a:gd name="T1" fmla="*/ 22 h 36"/>
                <a:gd name="T2" fmla="*/ 21 w 35"/>
                <a:gd name="T3" fmla="*/ 3 h 36"/>
                <a:gd name="T4" fmla="*/ 2 w 35"/>
                <a:gd name="T5" fmla="*/ 14 h 36"/>
                <a:gd name="T6" fmla="*/ 13 w 35"/>
                <a:gd name="T7" fmla="*/ 34 h 36"/>
                <a:gd name="T8" fmla="*/ 33 w 35"/>
                <a:gd name="T9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33" y="22"/>
                  </a:moveTo>
                  <a:cubicBezTo>
                    <a:pt x="35" y="14"/>
                    <a:pt x="30" y="5"/>
                    <a:pt x="21" y="3"/>
                  </a:cubicBezTo>
                  <a:cubicBezTo>
                    <a:pt x="13" y="0"/>
                    <a:pt x="4" y="5"/>
                    <a:pt x="2" y="14"/>
                  </a:cubicBezTo>
                  <a:cubicBezTo>
                    <a:pt x="0" y="23"/>
                    <a:pt x="5" y="31"/>
                    <a:pt x="13" y="34"/>
                  </a:cubicBezTo>
                  <a:cubicBezTo>
                    <a:pt x="22" y="36"/>
                    <a:pt x="30" y="31"/>
                    <a:pt x="3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60"/>
            <p:cNvSpPr>
              <a:spLocks noEditPoints="1"/>
            </p:cNvSpPr>
            <p:nvPr/>
          </p:nvSpPr>
          <p:spPr bwMode="auto">
            <a:xfrm>
              <a:off x="3812782" y="1112370"/>
              <a:ext cx="301025" cy="297900"/>
            </a:xfrm>
            <a:custGeom>
              <a:avLst/>
              <a:gdLst>
                <a:gd name="T0" fmla="*/ 159 w 159"/>
                <a:gd name="T1" fmla="*/ 79 h 158"/>
                <a:gd name="T2" fmla="*/ 158 w 159"/>
                <a:gd name="T3" fmla="*/ 68 h 158"/>
                <a:gd name="T4" fmla="*/ 156 w 159"/>
                <a:gd name="T5" fmla="*/ 57 h 158"/>
                <a:gd name="T6" fmla="*/ 135 w 159"/>
                <a:gd name="T7" fmla="*/ 56 h 158"/>
                <a:gd name="T8" fmla="*/ 126 w 159"/>
                <a:gd name="T9" fmla="*/ 42 h 158"/>
                <a:gd name="T10" fmla="*/ 135 w 159"/>
                <a:gd name="T11" fmla="*/ 23 h 158"/>
                <a:gd name="T12" fmla="*/ 118 w 159"/>
                <a:gd name="T13" fmla="*/ 10 h 158"/>
                <a:gd name="T14" fmla="*/ 102 w 159"/>
                <a:gd name="T15" fmla="*/ 24 h 158"/>
                <a:gd name="T16" fmla="*/ 86 w 159"/>
                <a:gd name="T17" fmla="*/ 20 h 158"/>
                <a:gd name="T18" fmla="*/ 79 w 159"/>
                <a:gd name="T19" fmla="*/ 0 h 158"/>
                <a:gd name="T20" fmla="*/ 68 w 159"/>
                <a:gd name="T21" fmla="*/ 1 h 158"/>
                <a:gd name="T22" fmla="*/ 57 w 159"/>
                <a:gd name="T23" fmla="*/ 3 h 158"/>
                <a:gd name="T24" fmla="*/ 56 w 159"/>
                <a:gd name="T25" fmla="*/ 24 h 158"/>
                <a:gd name="T26" fmla="*/ 42 w 159"/>
                <a:gd name="T27" fmla="*/ 32 h 158"/>
                <a:gd name="T28" fmla="*/ 23 w 159"/>
                <a:gd name="T29" fmla="*/ 24 h 158"/>
                <a:gd name="T30" fmla="*/ 10 w 159"/>
                <a:gd name="T31" fmla="*/ 41 h 158"/>
                <a:gd name="T32" fmla="*/ 24 w 159"/>
                <a:gd name="T33" fmla="*/ 57 h 158"/>
                <a:gd name="T34" fmla="*/ 20 w 159"/>
                <a:gd name="T35" fmla="*/ 72 h 158"/>
                <a:gd name="T36" fmla="*/ 0 w 159"/>
                <a:gd name="T37" fmla="*/ 80 h 158"/>
                <a:gd name="T38" fmla="*/ 1 w 159"/>
                <a:gd name="T39" fmla="*/ 91 h 158"/>
                <a:gd name="T40" fmla="*/ 3 w 159"/>
                <a:gd name="T41" fmla="*/ 101 h 158"/>
                <a:gd name="T42" fmla="*/ 25 w 159"/>
                <a:gd name="T43" fmla="*/ 103 h 158"/>
                <a:gd name="T44" fmla="*/ 33 w 159"/>
                <a:gd name="T45" fmla="*/ 116 h 158"/>
                <a:gd name="T46" fmla="*/ 24 w 159"/>
                <a:gd name="T47" fmla="*/ 136 h 158"/>
                <a:gd name="T48" fmla="*/ 41 w 159"/>
                <a:gd name="T49" fmla="*/ 149 h 158"/>
                <a:gd name="T50" fmla="*/ 57 w 159"/>
                <a:gd name="T51" fmla="*/ 135 h 158"/>
                <a:gd name="T52" fmla="*/ 73 w 159"/>
                <a:gd name="T53" fmla="*/ 139 h 158"/>
                <a:gd name="T54" fmla="*/ 80 w 159"/>
                <a:gd name="T55" fmla="*/ 158 h 158"/>
                <a:gd name="T56" fmla="*/ 91 w 159"/>
                <a:gd name="T57" fmla="*/ 158 h 158"/>
                <a:gd name="T58" fmla="*/ 102 w 159"/>
                <a:gd name="T59" fmla="*/ 155 h 158"/>
                <a:gd name="T60" fmla="*/ 103 w 159"/>
                <a:gd name="T61" fmla="*/ 134 h 158"/>
                <a:gd name="T62" fmla="*/ 117 w 159"/>
                <a:gd name="T63" fmla="*/ 126 h 158"/>
                <a:gd name="T64" fmla="*/ 136 w 159"/>
                <a:gd name="T65" fmla="*/ 135 h 158"/>
                <a:gd name="T66" fmla="*/ 149 w 159"/>
                <a:gd name="T67" fmla="*/ 117 h 158"/>
                <a:gd name="T68" fmla="*/ 135 w 159"/>
                <a:gd name="T69" fmla="*/ 102 h 158"/>
                <a:gd name="T70" fmla="*/ 139 w 159"/>
                <a:gd name="T71" fmla="*/ 86 h 158"/>
                <a:gd name="T72" fmla="*/ 159 w 159"/>
                <a:gd name="T73" fmla="*/ 79 h 158"/>
                <a:gd name="T74" fmla="*/ 85 w 159"/>
                <a:gd name="T75" fmla="*/ 117 h 158"/>
                <a:gd name="T76" fmla="*/ 42 w 159"/>
                <a:gd name="T77" fmla="*/ 85 h 158"/>
                <a:gd name="T78" fmla="*/ 74 w 159"/>
                <a:gd name="T79" fmla="*/ 42 h 158"/>
                <a:gd name="T80" fmla="*/ 117 w 159"/>
                <a:gd name="T81" fmla="*/ 74 h 158"/>
                <a:gd name="T82" fmla="*/ 85 w 159"/>
                <a:gd name="T83" fmla="*/ 11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9" h="158">
                  <a:moveTo>
                    <a:pt x="159" y="79"/>
                  </a:moveTo>
                  <a:cubicBezTo>
                    <a:pt x="159" y="75"/>
                    <a:pt x="159" y="71"/>
                    <a:pt x="158" y="68"/>
                  </a:cubicBezTo>
                  <a:cubicBezTo>
                    <a:pt x="157" y="64"/>
                    <a:pt x="157" y="61"/>
                    <a:pt x="156" y="57"/>
                  </a:cubicBezTo>
                  <a:cubicBezTo>
                    <a:pt x="135" y="56"/>
                    <a:pt x="135" y="56"/>
                    <a:pt x="135" y="56"/>
                  </a:cubicBezTo>
                  <a:cubicBezTo>
                    <a:pt x="132" y="51"/>
                    <a:pt x="130" y="46"/>
                    <a:pt x="126" y="42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30" y="18"/>
                    <a:pt x="124" y="13"/>
                    <a:pt x="118" y="10"/>
                  </a:cubicBezTo>
                  <a:cubicBezTo>
                    <a:pt x="102" y="24"/>
                    <a:pt x="102" y="24"/>
                    <a:pt x="102" y="24"/>
                  </a:cubicBezTo>
                  <a:cubicBezTo>
                    <a:pt x="97" y="22"/>
                    <a:pt x="92" y="20"/>
                    <a:pt x="86" y="2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5" y="0"/>
                    <a:pt x="72" y="0"/>
                    <a:pt x="68" y="1"/>
                  </a:cubicBezTo>
                  <a:cubicBezTo>
                    <a:pt x="64" y="1"/>
                    <a:pt x="61" y="2"/>
                    <a:pt x="57" y="3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1" y="26"/>
                    <a:pt x="46" y="29"/>
                    <a:pt x="42" y="3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8" y="29"/>
                    <a:pt x="14" y="35"/>
                    <a:pt x="10" y="41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22" y="62"/>
                    <a:pt x="21" y="67"/>
                    <a:pt x="20" y="72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3"/>
                    <a:pt x="1" y="87"/>
                    <a:pt x="1" y="91"/>
                  </a:cubicBezTo>
                  <a:cubicBezTo>
                    <a:pt x="2" y="94"/>
                    <a:pt x="2" y="98"/>
                    <a:pt x="3" y="101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7" y="108"/>
                    <a:pt x="29" y="112"/>
                    <a:pt x="33" y="116"/>
                  </a:cubicBezTo>
                  <a:cubicBezTo>
                    <a:pt x="24" y="136"/>
                    <a:pt x="24" y="136"/>
                    <a:pt x="24" y="136"/>
                  </a:cubicBezTo>
                  <a:cubicBezTo>
                    <a:pt x="29" y="141"/>
                    <a:pt x="35" y="145"/>
                    <a:pt x="41" y="149"/>
                  </a:cubicBezTo>
                  <a:cubicBezTo>
                    <a:pt x="57" y="135"/>
                    <a:pt x="57" y="135"/>
                    <a:pt x="57" y="135"/>
                  </a:cubicBezTo>
                  <a:cubicBezTo>
                    <a:pt x="62" y="137"/>
                    <a:pt x="67" y="138"/>
                    <a:pt x="73" y="139"/>
                  </a:cubicBezTo>
                  <a:cubicBezTo>
                    <a:pt x="80" y="158"/>
                    <a:pt x="80" y="158"/>
                    <a:pt x="80" y="158"/>
                  </a:cubicBezTo>
                  <a:cubicBezTo>
                    <a:pt x="84" y="158"/>
                    <a:pt x="87" y="158"/>
                    <a:pt x="91" y="158"/>
                  </a:cubicBezTo>
                  <a:cubicBezTo>
                    <a:pt x="95" y="157"/>
                    <a:pt x="98" y="156"/>
                    <a:pt x="102" y="155"/>
                  </a:cubicBezTo>
                  <a:cubicBezTo>
                    <a:pt x="103" y="134"/>
                    <a:pt x="103" y="134"/>
                    <a:pt x="103" y="134"/>
                  </a:cubicBezTo>
                  <a:cubicBezTo>
                    <a:pt x="108" y="132"/>
                    <a:pt x="113" y="129"/>
                    <a:pt x="117" y="126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41" y="130"/>
                    <a:pt x="146" y="124"/>
                    <a:pt x="149" y="117"/>
                  </a:cubicBezTo>
                  <a:cubicBezTo>
                    <a:pt x="135" y="102"/>
                    <a:pt x="135" y="102"/>
                    <a:pt x="135" y="102"/>
                  </a:cubicBezTo>
                  <a:cubicBezTo>
                    <a:pt x="137" y="97"/>
                    <a:pt x="138" y="91"/>
                    <a:pt x="139" y="86"/>
                  </a:cubicBezTo>
                  <a:lnTo>
                    <a:pt x="159" y="79"/>
                  </a:lnTo>
                  <a:close/>
                  <a:moveTo>
                    <a:pt x="85" y="117"/>
                  </a:moveTo>
                  <a:cubicBezTo>
                    <a:pt x="64" y="120"/>
                    <a:pt x="45" y="105"/>
                    <a:pt x="42" y="85"/>
                  </a:cubicBezTo>
                  <a:cubicBezTo>
                    <a:pt x="39" y="64"/>
                    <a:pt x="53" y="45"/>
                    <a:pt x="74" y="42"/>
                  </a:cubicBezTo>
                  <a:cubicBezTo>
                    <a:pt x="95" y="39"/>
                    <a:pt x="114" y="53"/>
                    <a:pt x="117" y="74"/>
                  </a:cubicBezTo>
                  <a:cubicBezTo>
                    <a:pt x="120" y="94"/>
                    <a:pt x="106" y="114"/>
                    <a:pt x="85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61"/>
            <p:cNvSpPr>
              <a:spLocks/>
            </p:cNvSpPr>
            <p:nvPr/>
          </p:nvSpPr>
          <p:spPr bwMode="auto">
            <a:xfrm>
              <a:off x="3932566" y="1231113"/>
              <a:ext cx="62496" cy="62496"/>
            </a:xfrm>
            <a:custGeom>
              <a:avLst/>
              <a:gdLst>
                <a:gd name="T0" fmla="*/ 14 w 33"/>
                <a:gd name="T1" fmla="*/ 1 h 33"/>
                <a:gd name="T2" fmla="*/ 1 w 33"/>
                <a:gd name="T3" fmla="*/ 18 h 33"/>
                <a:gd name="T4" fmla="*/ 19 w 33"/>
                <a:gd name="T5" fmla="*/ 31 h 33"/>
                <a:gd name="T6" fmla="*/ 32 w 33"/>
                <a:gd name="T7" fmla="*/ 14 h 33"/>
                <a:gd name="T8" fmla="*/ 14 w 33"/>
                <a:gd name="T9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14" y="1"/>
                  </a:moveTo>
                  <a:cubicBezTo>
                    <a:pt x="6" y="2"/>
                    <a:pt x="0" y="10"/>
                    <a:pt x="1" y="18"/>
                  </a:cubicBezTo>
                  <a:cubicBezTo>
                    <a:pt x="3" y="27"/>
                    <a:pt x="10" y="33"/>
                    <a:pt x="19" y="31"/>
                  </a:cubicBezTo>
                  <a:cubicBezTo>
                    <a:pt x="27" y="30"/>
                    <a:pt x="33" y="22"/>
                    <a:pt x="32" y="14"/>
                  </a:cubicBezTo>
                  <a:cubicBezTo>
                    <a:pt x="30" y="6"/>
                    <a:pt x="23" y="0"/>
                    <a:pt x="1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62"/>
            <p:cNvSpPr>
              <a:spLocks noEditPoints="1"/>
            </p:cNvSpPr>
            <p:nvPr/>
          </p:nvSpPr>
          <p:spPr bwMode="auto">
            <a:xfrm>
              <a:off x="3992980" y="885299"/>
              <a:ext cx="296859" cy="296859"/>
            </a:xfrm>
            <a:custGeom>
              <a:avLst/>
              <a:gdLst>
                <a:gd name="T0" fmla="*/ 138 w 157"/>
                <a:gd name="T1" fmla="*/ 79 h 157"/>
                <a:gd name="T2" fmla="*/ 136 w 157"/>
                <a:gd name="T3" fmla="*/ 63 h 157"/>
                <a:gd name="T4" fmla="*/ 152 w 157"/>
                <a:gd name="T5" fmla="*/ 49 h 157"/>
                <a:gd name="T6" fmla="*/ 141 w 157"/>
                <a:gd name="T7" fmla="*/ 30 h 157"/>
                <a:gd name="T8" fmla="*/ 121 w 157"/>
                <a:gd name="T9" fmla="*/ 37 h 157"/>
                <a:gd name="T10" fmla="*/ 108 w 157"/>
                <a:gd name="T11" fmla="*/ 27 h 157"/>
                <a:gd name="T12" fmla="*/ 109 w 157"/>
                <a:gd name="T13" fmla="*/ 6 h 157"/>
                <a:gd name="T14" fmla="*/ 99 w 157"/>
                <a:gd name="T15" fmla="*/ 2 h 157"/>
                <a:gd name="T16" fmla="*/ 88 w 157"/>
                <a:gd name="T17" fmla="*/ 0 h 157"/>
                <a:gd name="T18" fmla="*/ 79 w 157"/>
                <a:gd name="T19" fmla="*/ 19 h 157"/>
                <a:gd name="T20" fmla="*/ 63 w 157"/>
                <a:gd name="T21" fmla="*/ 21 h 157"/>
                <a:gd name="T22" fmla="*/ 49 w 157"/>
                <a:gd name="T23" fmla="*/ 5 h 157"/>
                <a:gd name="T24" fmla="*/ 30 w 157"/>
                <a:gd name="T25" fmla="*/ 16 h 157"/>
                <a:gd name="T26" fmla="*/ 36 w 157"/>
                <a:gd name="T27" fmla="*/ 36 h 157"/>
                <a:gd name="T28" fmla="*/ 26 w 157"/>
                <a:gd name="T29" fmla="*/ 49 h 157"/>
                <a:gd name="T30" fmla="*/ 5 w 157"/>
                <a:gd name="T31" fmla="*/ 48 h 157"/>
                <a:gd name="T32" fmla="*/ 2 w 157"/>
                <a:gd name="T33" fmla="*/ 58 h 157"/>
                <a:gd name="T34" fmla="*/ 0 w 157"/>
                <a:gd name="T35" fmla="*/ 69 h 157"/>
                <a:gd name="T36" fmla="*/ 19 w 157"/>
                <a:gd name="T37" fmla="*/ 78 h 157"/>
                <a:gd name="T38" fmla="*/ 21 w 157"/>
                <a:gd name="T39" fmla="*/ 94 h 157"/>
                <a:gd name="T40" fmla="*/ 5 w 157"/>
                <a:gd name="T41" fmla="*/ 108 h 157"/>
                <a:gd name="T42" fmla="*/ 16 w 157"/>
                <a:gd name="T43" fmla="*/ 127 h 157"/>
                <a:gd name="T44" fmla="*/ 36 w 157"/>
                <a:gd name="T45" fmla="*/ 121 h 157"/>
                <a:gd name="T46" fmla="*/ 49 w 157"/>
                <a:gd name="T47" fmla="*/ 131 h 157"/>
                <a:gd name="T48" fmla="*/ 47 w 157"/>
                <a:gd name="T49" fmla="*/ 152 h 157"/>
                <a:gd name="T50" fmla="*/ 58 w 157"/>
                <a:gd name="T51" fmla="*/ 155 h 157"/>
                <a:gd name="T52" fmla="*/ 69 w 157"/>
                <a:gd name="T53" fmla="*/ 157 h 157"/>
                <a:gd name="T54" fmla="*/ 78 w 157"/>
                <a:gd name="T55" fmla="*/ 139 h 157"/>
                <a:gd name="T56" fmla="*/ 94 w 157"/>
                <a:gd name="T57" fmla="*/ 136 h 157"/>
                <a:gd name="T58" fmla="*/ 108 w 157"/>
                <a:gd name="T59" fmla="*/ 152 h 157"/>
                <a:gd name="T60" fmla="*/ 127 w 157"/>
                <a:gd name="T61" fmla="*/ 141 h 157"/>
                <a:gd name="T62" fmla="*/ 120 w 157"/>
                <a:gd name="T63" fmla="*/ 121 h 157"/>
                <a:gd name="T64" fmla="*/ 130 w 157"/>
                <a:gd name="T65" fmla="*/ 108 h 157"/>
                <a:gd name="T66" fmla="*/ 151 w 157"/>
                <a:gd name="T67" fmla="*/ 110 h 157"/>
                <a:gd name="T68" fmla="*/ 155 w 157"/>
                <a:gd name="T69" fmla="*/ 99 h 157"/>
                <a:gd name="T70" fmla="*/ 157 w 157"/>
                <a:gd name="T71" fmla="*/ 89 h 157"/>
                <a:gd name="T72" fmla="*/ 138 w 157"/>
                <a:gd name="T73" fmla="*/ 79 h 157"/>
                <a:gd name="T74" fmla="*/ 113 w 157"/>
                <a:gd name="T75" fmla="*/ 88 h 157"/>
                <a:gd name="T76" fmla="*/ 69 w 157"/>
                <a:gd name="T77" fmla="*/ 113 h 157"/>
                <a:gd name="T78" fmla="*/ 44 w 157"/>
                <a:gd name="T79" fmla="*/ 69 h 157"/>
                <a:gd name="T80" fmla="*/ 88 w 157"/>
                <a:gd name="T81" fmla="*/ 44 h 157"/>
                <a:gd name="T82" fmla="*/ 113 w 157"/>
                <a:gd name="T83" fmla="*/ 8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" h="157">
                  <a:moveTo>
                    <a:pt x="138" y="79"/>
                  </a:moveTo>
                  <a:cubicBezTo>
                    <a:pt x="138" y="73"/>
                    <a:pt x="138" y="68"/>
                    <a:pt x="136" y="63"/>
                  </a:cubicBezTo>
                  <a:cubicBezTo>
                    <a:pt x="152" y="49"/>
                    <a:pt x="152" y="49"/>
                    <a:pt x="152" y="49"/>
                  </a:cubicBezTo>
                  <a:cubicBezTo>
                    <a:pt x="149" y="42"/>
                    <a:pt x="145" y="36"/>
                    <a:pt x="141" y="30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17" y="33"/>
                    <a:pt x="113" y="29"/>
                    <a:pt x="108" y="27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6" y="4"/>
                    <a:pt x="102" y="3"/>
                    <a:pt x="99" y="2"/>
                  </a:cubicBezTo>
                  <a:cubicBezTo>
                    <a:pt x="95" y="1"/>
                    <a:pt x="92" y="0"/>
                    <a:pt x="88" y="0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3" y="19"/>
                    <a:pt x="68" y="20"/>
                    <a:pt x="63" y="21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2" y="8"/>
                    <a:pt x="35" y="12"/>
                    <a:pt x="30" y="1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2" y="40"/>
                    <a:pt x="29" y="44"/>
                    <a:pt x="26" y="49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4" y="51"/>
                    <a:pt x="3" y="55"/>
                    <a:pt x="2" y="58"/>
                  </a:cubicBezTo>
                  <a:cubicBezTo>
                    <a:pt x="1" y="62"/>
                    <a:pt x="0" y="65"/>
                    <a:pt x="0" y="69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18" y="84"/>
                    <a:pt x="19" y="89"/>
                    <a:pt x="21" y="94"/>
                  </a:cubicBezTo>
                  <a:cubicBezTo>
                    <a:pt x="5" y="108"/>
                    <a:pt x="5" y="108"/>
                    <a:pt x="5" y="108"/>
                  </a:cubicBezTo>
                  <a:cubicBezTo>
                    <a:pt x="8" y="115"/>
                    <a:pt x="11" y="122"/>
                    <a:pt x="16" y="127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40" y="125"/>
                    <a:pt x="44" y="128"/>
                    <a:pt x="49" y="131"/>
                  </a:cubicBezTo>
                  <a:cubicBezTo>
                    <a:pt x="47" y="152"/>
                    <a:pt x="47" y="152"/>
                    <a:pt x="47" y="152"/>
                  </a:cubicBezTo>
                  <a:cubicBezTo>
                    <a:pt x="51" y="153"/>
                    <a:pt x="54" y="154"/>
                    <a:pt x="58" y="155"/>
                  </a:cubicBezTo>
                  <a:cubicBezTo>
                    <a:pt x="61" y="156"/>
                    <a:pt x="65" y="157"/>
                    <a:pt x="69" y="157"/>
                  </a:cubicBezTo>
                  <a:cubicBezTo>
                    <a:pt x="78" y="139"/>
                    <a:pt x="78" y="139"/>
                    <a:pt x="78" y="139"/>
                  </a:cubicBezTo>
                  <a:cubicBezTo>
                    <a:pt x="84" y="139"/>
                    <a:pt x="89" y="138"/>
                    <a:pt x="94" y="136"/>
                  </a:cubicBezTo>
                  <a:cubicBezTo>
                    <a:pt x="108" y="152"/>
                    <a:pt x="108" y="152"/>
                    <a:pt x="108" y="152"/>
                  </a:cubicBezTo>
                  <a:cubicBezTo>
                    <a:pt x="115" y="149"/>
                    <a:pt x="121" y="146"/>
                    <a:pt x="127" y="141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4" y="117"/>
                    <a:pt x="128" y="113"/>
                    <a:pt x="130" y="108"/>
                  </a:cubicBezTo>
                  <a:cubicBezTo>
                    <a:pt x="151" y="110"/>
                    <a:pt x="151" y="110"/>
                    <a:pt x="151" y="110"/>
                  </a:cubicBezTo>
                  <a:cubicBezTo>
                    <a:pt x="153" y="106"/>
                    <a:pt x="154" y="103"/>
                    <a:pt x="155" y="99"/>
                  </a:cubicBezTo>
                  <a:cubicBezTo>
                    <a:pt x="156" y="96"/>
                    <a:pt x="157" y="92"/>
                    <a:pt x="157" y="89"/>
                  </a:cubicBezTo>
                  <a:lnTo>
                    <a:pt x="138" y="79"/>
                  </a:lnTo>
                  <a:close/>
                  <a:moveTo>
                    <a:pt x="113" y="88"/>
                  </a:moveTo>
                  <a:cubicBezTo>
                    <a:pt x="108" y="107"/>
                    <a:pt x="88" y="119"/>
                    <a:pt x="69" y="113"/>
                  </a:cubicBezTo>
                  <a:cubicBezTo>
                    <a:pt x="50" y="108"/>
                    <a:pt x="39" y="89"/>
                    <a:pt x="44" y="69"/>
                  </a:cubicBezTo>
                  <a:cubicBezTo>
                    <a:pt x="49" y="50"/>
                    <a:pt x="69" y="39"/>
                    <a:pt x="88" y="44"/>
                  </a:cubicBezTo>
                  <a:cubicBezTo>
                    <a:pt x="107" y="49"/>
                    <a:pt x="118" y="69"/>
                    <a:pt x="113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63"/>
            <p:cNvSpPr>
              <a:spLocks/>
            </p:cNvSpPr>
            <p:nvPr/>
          </p:nvSpPr>
          <p:spPr bwMode="auto">
            <a:xfrm>
              <a:off x="4106515" y="999876"/>
              <a:ext cx="67705" cy="68746"/>
            </a:xfrm>
            <a:custGeom>
              <a:avLst/>
              <a:gdLst>
                <a:gd name="T0" fmla="*/ 23 w 36"/>
                <a:gd name="T1" fmla="*/ 2 h 36"/>
                <a:gd name="T2" fmla="*/ 3 w 36"/>
                <a:gd name="T3" fmla="*/ 13 h 36"/>
                <a:gd name="T4" fmla="*/ 14 w 36"/>
                <a:gd name="T5" fmla="*/ 33 h 36"/>
                <a:gd name="T6" fmla="*/ 34 w 36"/>
                <a:gd name="T7" fmla="*/ 22 h 36"/>
                <a:gd name="T8" fmla="*/ 23 w 36"/>
                <a:gd name="T9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23" y="2"/>
                  </a:moveTo>
                  <a:cubicBezTo>
                    <a:pt x="14" y="0"/>
                    <a:pt x="5" y="5"/>
                    <a:pt x="3" y="13"/>
                  </a:cubicBezTo>
                  <a:cubicBezTo>
                    <a:pt x="0" y="22"/>
                    <a:pt x="5" y="31"/>
                    <a:pt x="14" y="33"/>
                  </a:cubicBezTo>
                  <a:cubicBezTo>
                    <a:pt x="23" y="36"/>
                    <a:pt x="32" y="31"/>
                    <a:pt x="34" y="22"/>
                  </a:cubicBezTo>
                  <a:cubicBezTo>
                    <a:pt x="36" y="13"/>
                    <a:pt x="31" y="4"/>
                    <a:pt x="2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2" name="Freeform 47"/>
          <p:cNvSpPr>
            <a:spLocks noEditPoints="1"/>
          </p:cNvSpPr>
          <p:nvPr/>
        </p:nvSpPr>
        <p:spPr bwMode="auto">
          <a:xfrm>
            <a:off x="1451531" y="797719"/>
            <a:ext cx="234426" cy="233910"/>
          </a:xfrm>
          <a:custGeom>
            <a:avLst/>
            <a:gdLst>
              <a:gd name="T0" fmla="*/ 421 w 430"/>
              <a:gd name="T1" fmla="*/ 376 h 429"/>
              <a:gd name="T2" fmla="*/ 296 w 430"/>
              <a:gd name="T3" fmla="*/ 251 h 429"/>
              <a:gd name="T4" fmla="*/ 322 w 430"/>
              <a:gd name="T5" fmla="*/ 161 h 429"/>
              <a:gd name="T6" fmla="*/ 275 w 430"/>
              <a:gd name="T7" fmla="*/ 47 h 429"/>
              <a:gd name="T8" fmla="*/ 160 w 430"/>
              <a:gd name="T9" fmla="*/ 0 h 429"/>
              <a:gd name="T10" fmla="*/ 47 w 430"/>
              <a:gd name="T11" fmla="*/ 47 h 429"/>
              <a:gd name="T12" fmla="*/ 0 w 430"/>
              <a:gd name="T13" fmla="*/ 160 h 429"/>
              <a:gd name="T14" fmla="*/ 48 w 430"/>
              <a:gd name="T15" fmla="*/ 274 h 429"/>
              <a:gd name="T16" fmla="*/ 163 w 430"/>
              <a:gd name="T17" fmla="*/ 322 h 429"/>
              <a:gd name="T18" fmla="*/ 251 w 430"/>
              <a:gd name="T19" fmla="*/ 295 h 429"/>
              <a:gd name="T20" fmla="*/ 377 w 430"/>
              <a:gd name="T21" fmla="*/ 420 h 429"/>
              <a:gd name="T22" fmla="*/ 398 w 430"/>
              <a:gd name="T23" fmla="*/ 429 h 429"/>
              <a:gd name="T24" fmla="*/ 417 w 430"/>
              <a:gd name="T25" fmla="*/ 421 h 429"/>
              <a:gd name="T26" fmla="*/ 422 w 430"/>
              <a:gd name="T27" fmla="*/ 417 h 429"/>
              <a:gd name="T28" fmla="*/ 430 w 430"/>
              <a:gd name="T29" fmla="*/ 396 h 429"/>
              <a:gd name="T30" fmla="*/ 421 w 430"/>
              <a:gd name="T31" fmla="*/ 376 h 429"/>
              <a:gd name="T32" fmla="*/ 250 w 430"/>
              <a:gd name="T33" fmla="*/ 249 h 429"/>
              <a:gd name="T34" fmla="*/ 163 w 430"/>
              <a:gd name="T35" fmla="*/ 286 h 429"/>
              <a:gd name="T36" fmla="*/ 74 w 430"/>
              <a:gd name="T37" fmla="*/ 249 h 429"/>
              <a:gd name="T38" fmla="*/ 37 w 430"/>
              <a:gd name="T39" fmla="*/ 160 h 429"/>
              <a:gd name="T40" fmla="*/ 73 w 430"/>
              <a:gd name="T41" fmla="*/ 72 h 429"/>
              <a:gd name="T42" fmla="*/ 160 w 430"/>
              <a:gd name="T43" fmla="*/ 36 h 429"/>
              <a:gd name="T44" fmla="*/ 249 w 430"/>
              <a:gd name="T45" fmla="*/ 73 h 429"/>
              <a:gd name="T46" fmla="*/ 286 w 430"/>
              <a:gd name="T47" fmla="*/ 161 h 429"/>
              <a:gd name="T48" fmla="*/ 250 w 430"/>
              <a:gd name="T49" fmla="*/ 249 h 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0" h="429">
                <a:moveTo>
                  <a:pt x="421" y="376"/>
                </a:moveTo>
                <a:cubicBezTo>
                  <a:pt x="296" y="251"/>
                  <a:pt x="296" y="251"/>
                  <a:pt x="296" y="251"/>
                </a:cubicBezTo>
                <a:cubicBezTo>
                  <a:pt x="313" y="224"/>
                  <a:pt x="323" y="194"/>
                  <a:pt x="322" y="161"/>
                </a:cubicBezTo>
                <a:cubicBezTo>
                  <a:pt x="322" y="118"/>
                  <a:pt x="305" y="78"/>
                  <a:pt x="275" y="47"/>
                </a:cubicBezTo>
                <a:cubicBezTo>
                  <a:pt x="244" y="17"/>
                  <a:pt x="204" y="0"/>
                  <a:pt x="160" y="0"/>
                </a:cubicBezTo>
                <a:cubicBezTo>
                  <a:pt x="117" y="0"/>
                  <a:pt x="77" y="16"/>
                  <a:pt x="47" y="47"/>
                </a:cubicBezTo>
                <a:cubicBezTo>
                  <a:pt x="17" y="77"/>
                  <a:pt x="0" y="117"/>
                  <a:pt x="0" y="160"/>
                </a:cubicBezTo>
                <a:cubicBezTo>
                  <a:pt x="1" y="203"/>
                  <a:pt x="17" y="244"/>
                  <a:pt x="48" y="274"/>
                </a:cubicBezTo>
                <a:cubicBezTo>
                  <a:pt x="79" y="305"/>
                  <a:pt x="119" y="322"/>
                  <a:pt x="163" y="322"/>
                </a:cubicBezTo>
                <a:cubicBezTo>
                  <a:pt x="195" y="322"/>
                  <a:pt x="225" y="313"/>
                  <a:pt x="251" y="295"/>
                </a:cubicBezTo>
                <a:cubicBezTo>
                  <a:pt x="377" y="420"/>
                  <a:pt x="377" y="420"/>
                  <a:pt x="377" y="420"/>
                </a:cubicBezTo>
                <a:cubicBezTo>
                  <a:pt x="383" y="426"/>
                  <a:pt x="390" y="429"/>
                  <a:pt x="398" y="429"/>
                </a:cubicBezTo>
                <a:cubicBezTo>
                  <a:pt x="405" y="429"/>
                  <a:pt x="412" y="427"/>
                  <a:pt x="417" y="421"/>
                </a:cubicBezTo>
                <a:cubicBezTo>
                  <a:pt x="422" y="417"/>
                  <a:pt x="422" y="417"/>
                  <a:pt x="422" y="417"/>
                </a:cubicBezTo>
                <a:cubicBezTo>
                  <a:pt x="427" y="411"/>
                  <a:pt x="430" y="404"/>
                  <a:pt x="430" y="396"/>
                </a:cubicBezTo>
                <a:cubicBezTo>
                  <a:pt x="430" y="389"/>
                  <a:pt x="426" y="382"/>
                  <a:pt x="421" y="376"/>
                </a:cubicBezTo>
                <a:close/>
                <a:moveTo>
                  <a:pt x="250" y="249"/>
                </a:moveTo>
                <a:cubicBezTo>
                  <a:pt x="227" y="273"/>
                  <a:pt x="196" y="286"/>
                  <a:pt x="163" y="286"/>
                </a:cubicBezTo>
                <a:cubicBezTo>
                  <a:pt x="129" y="286"/>
                  <a:pt x="97" y="273"/>
                  <a:pt x="74" y="249"/>
                </a:cubicBezTo>
                <a:cubicBezTo>
                  <a:pt x="50" y="225"/>
                  <a:pt x="37" y="194"/>
                  <a:pt x="37" y="160"/>
                </a:cubicBezTo>
                <a:cubicBezTo>
                  <a:pt x="36" y="127"/>
                  <a:pt x="49" y="96"/>
                  <a:pt x="73" y="72"/>
                </a:cubicBezTo>
                <a:cubicBezTo>
                  <a:pt x="96" y="49"/>
                  <a:pt x="127" y="36"/>
                  <a:pt x="160" y="36"/>
                </a:cubicBezTo>
                <a:cubicBezTo>
                  <a:pt x="194" y="36"/>
                  <a:pt x="225" y="49"/>
                  <a:pt x="249" y="73"/>
                </a:cubicBezTo>
                <a:cubicBezTo>
                  <a:pt x="273" y="97"/>
                  <a:pt x="286" y="128"/>
                  <a:pt x="286" y="161"/>
                </a:cubicBezTo>
                <a:cubicBezTo>
                  <a:pt x="286" y="195"/>
                  <a:pt x="274" y="226"/>
                  <a:pt x="250" y="24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53" name="Freeform 173"/>
          <p:cNvSpPr>
            <a:spLocks noEditPoints="1"/>
          </p:cNvSpPr>
          <p:nvPr/>
        </p:nvSpPr>
        <p:spPr bwMode="auto">
          <a:xfrm>
            <a:off x="6250343" y="2669430"/>
            <a:ext cx="248016" cy="240220"/>
          </a:xfrm>
          <a:custGeom>
            <a:avLst/>
            <a:gdLst>
              <a:gd name="T0" fmla="*/ 279 w 603"/>
              <a:gd name="T1" fmla="*/ 487 h 585"/>
              <a:gd name="T2" fmla="*/ 332 w 603"/>
              <a:gd name="T3" fmla="*/ 487 h 585"/>
              <a:gd name="T4" fmla="*/ 365 w 603"/>
              <a:gd name="T5" fmla="*/ 454 h 585"/>
              <a:gd name="T6" fmla="*/ 365 w 603"/>
              <a:gd name="T7" fmla="*/ 265 h 585"/>
              <a:gd name="T8" fmla="*/ 332 w 603"/>
              <a:gd name="T9" fmla="*/ 231 h 585"/>
              <a:gd name="T10" fmla="*/ 279 w 603"/>
              <a:gd name="T11" fmla="*/ 231 h 585"/>
              <a:gd name="T12" fmla="*/ 245 w 603"/>
              <a:gd name="T13" fmla="*/ 265 h 585"/>
              <a:gd name="T14" fmla="*/ 245 w 603"/>
              <a:gd name="T15" fmla="*/ 454 h 585"/>
              <a:gd name="T16" fmla="*/ 279 w 603"/>
              <a:gd name="T17" fmla="*/ 487 h 585"/>
              <a:gd name="T18" fmla="*/ 121 w 603"/>
              <a:gd name="T19" fmla="*/ 487 h 585"/>
              <a:gd name="T20" fmla="*/ 174 w 603"/>
              <a:gd name="T21" fmla="*/ 487 h 585"/>
              <a:gd name="T22" fmla="*/ 207 w 603"/>
              <a:gd name="T23" fmla="*/ 454 h 585"/>
              <a:gd name="T24" fmla="*/ 207 w 603"/>
              <a:gd name="T25" fmla="*/ 363 h 585"/>
              <a:gd name="T26" fmla="*/ 174 w 603"/>
              <a:gd name="T27" fmla="*/ 330 h 585"/>
              <a:gd name="T28" fmla="*/ 121 w 603"/>
              <a:gd name="T29" fmla="*/ 330 h 585"/>
              <a:gd name="T30" fmla="*/ 88 w 603"/>
              <a:gd name="T31" fmla="*/ 363 h 585"/>
              <a:gd name="T32" fmla="*/ 88 w 603"/>
              <a:gd name="T33" fmla="*/ 454 h 585"/>
              <a:gd name="T34" fmla="*/ 121 w 603"/>
              <a:gd name="T35" fmla="*/ 487 h 585"/>
              <a:gd name="T36" fmla="*/ 403 w 603"/>
              <a:gd name="T37" fmla="*/ 454 h 585"/>
              <a:gd name="T38" fmla="*/ 437 w 603"/>
              <a:gd name="T39" fmla="*/ 487 h 585"/>
              <a:gd name="T40" fmla="*/ 490 w 603"/>
              <a:gd name="T41" fmla="*/ 487 h 585"/>
              <a:gd name="T42" fmla="*/ 523 w 603"/>
              <a:gd name="T43" fmla="*/ 454 h 585"/>
              <a:gd name="T44" fmla="*/ 523 w 603"/>
              <a:gd name="T45" fmla="*/ 124 h 585"/>
              <a:gd name="T46" fmla="*/ 587 w 603"/>
              <a:gd name="T47" fmla="*/ 124 h 585"/>
              <a:gd name="T48" fmla="*/ 464 w 603"/>
              <a:gd name="T49" fmla="*/ 0 h 585"/>
              <a:gd name="T50" fmla="*/ 339 w 603"/>
              <a:gd name="T51" fmla="*/ 124 h 585"/>
              <a:gd name="T52" fmla="*/ 403 w 603"/>
              <a:gd name="T53" fmla="*/ 124 h 585"/>
              <a:gd name="T54" fmla="*/ 403 w 603"/>
              <a:gd name="T55" fmla="*/ 454 h 585"/>
              <a:gd name="T56" fmla="*/ 570 w 603"/>
              <a:gd name="T57" fmla="*/ 516 h 585"/>
              <a:gd name="T58" fmla="*/ 34 w 603"/>
              <a:gd name="T59" fmla="*/ 516 h 585"/>
              <a:gd name="T60" fmla="*/ 0 w 603"/>
              <a:gd name="T61" fmla="*/ 549 h 585"/>
              <a:gd name="T62" fmla="*/ 0 w 603"/>
              <a:gd name="T63" fmla="*/ 552 h 585"/>
              <a:gd name="T64" fmla="*/ 34 w 603"/>
              <a:gd name="T65" fmla="*/ 585 h 585"/>
              <a:gd name="T66" fmla="*/ 570 w 603"/>
              <a:gd name="T67" fmla="*/ 585 h 585"/>
              <a:gd name="T68" fmla="*/ 603 w 603"/>
              <a:gd name="T69" fmla="*/ 552 h 585"/>
              <a:gd name="T70" fmla="*/ 603 w 603"/>
              <a:gd name="T71" fmla="*/ 549 h 585"/>
              <a:gd name="T72" fmla="*/ 570 w 603"/>
              <a:gd name="T73" fmla="*/ 516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03" h="585">
                <a:moveTo>
                  <a:pt x="279" y="487"/>
                </a:moveTo>
                <a:cubicBezTo>
                  <a:pt x="332" y="487"/>
                  <a:pt x="332" y="487"/>
                  <a:pt x="332" y="487"/>
                </a:cubicBezTo>
                <a:cubicBezTo>
                  <a:pt x="350" y="487"/>
                  <a:pt x="365" y="472"/>
                  <a:pt x="365" y="454"/>
                </a:cubicBezTo>
                <a:cubicBezTo>
                  <a:pt x="365" y="265"/>
                  <a:pt x="365" y="265"/>
                  <a:pt x="365" y="265"/>
                </a:cubicBezTo>
                <a:cubicBezTo>
                  <a:pt x="365" y="246"/>
                  <a:pt x="350" y="231"/>
                  <a:pt x="332" y="231"/>
                </a:cubicBezTo>
                <a:cubicBezTo>
                  <a:pt x="279" y="231"/>
                  <a:pt x="279" y="231"/>
                  <a:pt x="279" y="231"/>
                </a:cubicBezTo>
                <a:cubicBezTo>
                  <a:pt x="260" y="231"/>
                  <a:pt x="245" y="246"/>
                  <a:pt x="245" y="265"/>
                </a:cubicBezTo>
                <a:cubicBezTo>
                  <a:pt x="245" y="454"/>
                  <a:pt x="245" y="454"/>
                  <a:pt x="245" y="454"/>
                </a:cubicBezTo>
                <a:cubicBezTo>
                  <a:pt x="245" y="472"/>
                  <a:pt x="260" y="487"/>
                  <a:pt x="279" y="487"/>
                </a:cubicBezTo>
                <a:close/>
                <a:moveTo>
                  <a:pt x="121" y="487"/>
                </a:moveTo>
                <a:cubicBezTo>
                  <a:pt x="174" y="487"/>
                  <a:pt x="174" y="487"/>
                  <a:pt x="174" y="487"/>
                </a:cubicBezTo>
                <a:cubicBezTo>
                  <a:pt x="192" y="487"/>
                  <a:pt x="207" y="472"/>
                  <a:pt x="207" y="454"/>
                </a:cubicBezTo>
                <a:cubicBezTo>
                  <a:pt x="207" y="363"/>
                  <a:pt x="207" y="363"/>
                  <a:pt x="207" y="363"/>
                </a:cubicBezTo>
                <a:cubicBezTo>
                  <a:pt x="207" y="345"/>
                  <a:pt x="192" y="330"/>
                  <a:pt x="174" y="330"/>
                </a:cubicBezTo>
                <a:cubicBezTo>
                  <a:pt x="121" y="330"/>
                  <a:pt x="121" y="330"/>
                  <a:pt x="121" y="330"/>
                </a:cubicBezTo>
                <a:cubicBezTo>
                  <a:pt x="102" y="330"/>
                  <a:pt x="88" y="345"/>
                  <a:pt x="88" y="363"/>
                </a:cubicBezTo>
                <a:cubicBezTo>
                  <a:pt x="88" y="454"/>
                  <a:pt x="88" y="454"/>
                  <a:pt x="88" y="454"/>
                </a:cubicBezTo>
                <a:cubicBezTo>
                  <a:pt x="88" y="472"/>
                  <a:pt x="102" y="487"/>
                  <a:pt x="121" y="487"/>
                </a:cubicBezTo>
                <a:close/>
                <a:moveTo>
                  <a:pt x="403" y="454"/>
                </a:moveTo>
                <a:cubicBezTo>
                  <a:pt x="403" y="472"/>
                  <a:pt x="418" y="487"/>
                  <a:pt x="437" y="487"/>
                </a:cubicBezTo>
                <a:cubicBezTo>
                  <a:pt x="490" y="487"/>
                  <a:pt x="490" y="487"/>
                  <a:pt x="490" y="487"/>
                </a:cubicBezTo>
                <a:cubicBezTo>
                  <a:pt x="508" y="487"/>
                  <a:pt x="523" y="472"/>
                  <a:pt x="523" y="454"/>
                </a:cubicBezTo>
                <a:cubicBezTo>
                  <a:pt x="523" y="124"/>
                  <a:pt x="523" y="124"/>
                  <a:pt x="523" y="124"/>
                </a:cubicBezTo>
                <a:cubicBezTo>
                  <a:pt x="587" y="124"/>
                  <a:pt x="587" y="124"/>
                  <a:pt x="587" y="124"/>
                </a:cubicBezTo>
                <a:cubicBezTo>
                  <a:pt x="464" y="0"/>
                  <a:pt x="464" y="0"/>
                  <a:pt x="464" y="0"/>
                </a:cubicBezTo>
                <a:cubicBezTo>
                  <a:pt x="339" y="124"/>
                  <a:pt x="339" y="124"/>
                  <a:pt x="339" y="124"/>
                </a:cubicBezTo>
                <a:cubicBezTo>
                  <a:pt x="403" y="124"/>
                  <a:pt x="403" y="124"/>
                  <a:pt x="403" y="124"/>
                </a:cubicBezTo>
                <a:lnTo>
                  <a:pt x="403" y="454"/>
                </a:lnTo>
                <a:close/>
                <a:moveTo>
                  <a:pt x="570" y="516"/>
                </a:moveTo>
                <a:cubicBezTo>
                  <a:pt x="34" y="516"/>
                  <a:pt x="34" y="516"/>
                  <a:pt x="34" y="516"/>
                </a:cubicBezTo>
                <a:cubicBezTo>
                  <a:pt x="15" y="516"/>
                  <a:pt x="0" y="531"/>
                  <a:pt x="0" y="549"/>
                </a:cubicBezTo>
                <a:cubicBezTo>
                  <a:pt x="0" y="552"/>
                  <a:pt x="0" y="552"/>
                  <a:pt x="0" y="552"/>
                </a:cubicBezTo>
                <a:cubicBezTo>
                  <a:pt x="0" y="570"/>
                  <a:pt x="15" y="585"/>
                  <a:pt x="34" y="585"/>
                </a:cubicBezTo>
                <a:cubicBezTo>
                  <a:pt x="570" y="585"/>
                  <a:pt x="570" y="585"/>
                  <a:pt x="570" y="585"/>
                </a:cubicBezTo>
                <a:cubicBezTo>
                  <a:pt x="588" y="585"/>
                  <a:pt x="603" y="570"/>
                  <a:pt x="603" y="552"/>
                </a:cubicBezTo>
                <a:cubicBezTo>
                  <a:pt x="603" y="549"/>
                  <a:pt x="603" y="549"/>
                  <a:pt x="603" y="549"/>
                </a:cubicBezTo>
                <a:cubicBezTo>
                  <a:pt x="603" y="531"/>
                  <a:pt x="588" y="516"/>
                  <a:pt x="570" y="51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" name="AutoShape 250"/>
          <p:cNvSpPr>
            <a:spLocks noChangeArrowheads="1"/>
          </p:cNvSpPr>
          <p:nvPr/>
        </p:nvSpPr>
        <p:spPr bwMode="auto">
          <a:xfrm>
            <a:off x="475488" y="2644962"/>
            <a:ext cx="1310797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</a:rPr>
              <a:t>What we did</a:t>
            </a:r>
            <a:endParaRPr lang="en-US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475488" y="1187264"/>
            <a:ext cx="219832" cy="171500"/>
            <a:chOff x="241260" y="1173478"/>
            <a:chExt cx="219832" cy="171500"/>
          </a:xfrm>
          <a:solidFill>
            <a:schemeClr val="accent4"/>
          </a:solidFill>
        </p:grpSpPr>
        <p:sp>
          <p:nvSpPr>
            <p:cNvPr id="32" name="Trapezoid 433169"/>
            <p:cNvSpPr/>
            <p:nvPr/>
          </p:nvSpPr>
          <p:spPr bwMode="gray">
            <a:xfrm rot="353150">
              <a:off x="241260" y="1206233"/>
              <a:ext cx="95953" cy="138745"/>
            </a:xfrm>
            <a:custGeom>
              <a:avLst/>
              <a:gdLst/>
              <a:ahLst/>
              <a:cxnLst/>
              <a:rect l="l" t="t" r="r" b="b"/>
              <a:pathLst>
                <a:path w="497042" h="718703">
                  <a:moveTo>
                    <a:pt x="119700" y="0"/>
                  </a:moveTo>
                  <a:lnTo>
                    <a:pt x="380217" y="0"/>
                  </a:lnTo>
                  <a:lnTo>
                    <a:pt x="472358" y="368563"/>
                  </a:lnTo>
                  <a:cubicBezTo>
                    <a:pt x="486477" y="397226"/>
                    <a:pt x="493657" y="427642"/>
                    <a:pt x="494703" y="457943"/>
                  </a:cubicBezTo>
                  <a:lnTo>
                    <a:pt x="497042" y="467300"/>
                  </a:lnTo>
                  <a:lnTo>
                    <a:pt x="494515" y="467300"/>
                  </a:lnTo>
                  <a:cubicBezTo>
                    <a:pt x="496795" y="558174"/>
                    <a:pt x="447797" y="646374"/>
                    <a:pt x="361567" y="690967"/>
                  </a:cubicBezTo>
                  <a:cubicBezTo>
                    <a:pt x="240032" y="753818"/>
                    <a:pt x="90557" y="706246"/>
                    <a:pt x="27705" y="584710"/>
                  </a:cubicBezTo>
                  <a:cubicBezTo>
                    <a:pt x="-12189" y="507566"/>
                    <a:pt x="-7594" y="419165"/>
                    <a:pt x="32457" y="348970"/>
                  </a:cubicBezTo>
                  <a:close/>
                </a:path>
              </a:pathLst>
            </a:cu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4"/>
                </a:solidFill>
              </a:endParaRPr>
            </a:p>
          </p:txBody>
        </p:sp>
        <p:sp>
          <p:nvSpPr>
            <p:cNvPr id="33" name="Oval 32"/>
            <p:cNvSpPr/>
            <p:nvPr/>
          </p:nvSpPr>
          <p:spPr bwMode="gray">
            <a:xfrm rot="20312417">
              <a:off x="247628" y="1259944"/>
              <a:ext cx="78380" cy="78380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4"/>
                </a:solidFill>
              </a:endParaRPr>
            </a:p>
          </p:txBody>
        </p:sp>
        <p:sp>
          <p:nvSpPr>
            <p:cNvPr id="30" name="Trapezoid 433169"/>
            <p:cNvSpPr/>
            <p:nvPr/>
          </p:nvSpPr>
          <p:spPr bwMode="gray">
            <a:xfrm rot="18671684" flipH="1">
              <a:off x="343743" y="1164752"/>
              <a:ext cx="95953" cy="138745"/>
            </a:xfrm>
            <a:custGeom>
              <a:avLst/>
              <a:gdLst/>
              <a:ahLst/>
              <a:cxnLst/>
              <a:rect l="l" t="t" r="r" b="b"/>
              <a:pathLst>
                <a:path w="497042" h="718703">
                  <a:moveTo>
                    <a:pt x="119700" y="0"/>
                  </a:moveTo>
                  <a:lnTo>
                    <a:pt x="380217" y="0"/>
                  </a:lnTo>
                  <a:lnTo>
                    <a:pt x="472358" y="368563"/>
                  </a:lnTo>
                  <a:cubicBezTo>
                    <a:pt x="486477" y="397226"/>
                    <a:pt x="493657" y="427642"/>
                    <a:pt x="494703" y="457943"/>
                  </a:cubicBezTo>
                  <a:lnTo>
                    <a:pt x="497042" y="467300"/>
                  </a:lnTo>
                  <a:lnTo>
                    <a:pt x="494515" y="467300"/>
                  </a:lnTo>
                  <a:cubicBezTo>
                    <a:pt x="496795" y="558174"/>
                    <a:pt x="447797" y="646374"/>
                    <a:pt x="361567" y="690967"/>
                  </a:cubicBezTo>
                  <a:cubicBezTo>
                    <a:pt x="240032" y="753818"/>
                    <a:pt x="90557" y="706246"/>
                    <a:pt x="27705" y="584710"/>
                  </a:cubicBezTo>
                  <a:cubicBezTo>
                    <a:pt x="-12189" y="507566"/>
                    <a:pt x="-7594" y="419165"/>
                    <a:pt x="32457" y="348970"/>
                  </a:cubicBezTo>
                  <a:close/>
                </a:path>
              </a:pathLst>
            </a:cu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4"/>
                </a:solidFill>
              </a:endParaRPr>
            </a:p>
          </p:txBody>
        </p:sp>
        <p:sp>
          <p:nvSpPr>
            <p:cNvPr id="31" name="Oval 30"/>
            <p:cNvSpPr/>
            <p:nvPr/>
          </p:nvSpPr>
          <p:spPr bwMode="gray">
            <a:xfrm rot="20312417" flipH="1">
              <a:off x="370323" y="1210518"/>
              <a:ext cx="78380" cy="78380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4"/>
                </a:solidFill>
              </a:endParaRPr>
            </a:p>
          </p:txBody>
        </p:sp>
        <p:sp>
          <p:nvSpPr>
            <p:cNvPr id="28" name="Isosceles Triangle 27"/>
            <p:cNvSpPr/>
            <p:nvPr/>
          </p:nvSpPr>
          <p:spPr bwMode="gray">
            <a:xfrm rot="20312417">
              <a:off x="317060" y="1206610"/>
              <a:ext cx="28961" cy="55023"/>
            </a:xfrm>
            <a:prstGeom prst="triangl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4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 bwMode="gray">
            <a:xfrm rot="20312417">
              <a:off x="329425" y="1245946"/>
              <a:ext cx="26553" cy="26553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4"/>
                </a:solidFill>
              </a:endParaRPr>
            </a:p>
          </p:txBody>
        </p:sp>
        <p:sp>
          <p:nvSpPr>
            <p:cNvPr id="26" name="Oval 433174"/>
            <p:cNvSpPr/>
            <p:nvPr/>
          </p:nvSpPr>
          <p:spPr bwMode="gray">
            <a:xfrm rot="21374832">
              <a:off x="265661" y="1192427"/>
              <a:ext cx="55679" cy="23520"/>
            </a:xfrm>
            <a:custGeom>
              <a:avLst/>
              <a:gdLst/>
              <a:ahLst/>
              <a:cxnLst/>
              <a:rect l="l" t="t" r="r" b="b"/>
              <a:pathLst>
                <a:path w="288418" h="121833">
                  <a:moveTo>
                    <a:pt x="144209" y="0"/>
                  </a:moveTo>
                  <a:cubicBezTo>
                    <a:pt x="217198" y="0"/>
                    <a:pt x="278000" y="52177"/>
                    <a:pt x="288418" y="121833"/>
                  </a:cubicBezTo>
                  <a:lnTo>
                    <a:pt x="0" y="121833"/>
                  </a:lnTo>
                  <a:cubicBezTo>
                    <a:pt x="10418" y="52177"/>
                    <a:pt x="71221" y="0"/>
                    <a:pt x="144209" y="0"/>
                  </a:cubicBezTo>
                  <a:close/>
                </a:path>
              </a:pathLst>
            </a:cu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4"/>
                </a:solidFill>
              </a:endParaRPr>
            </a:p>
          </p:txBody>
        </p:sp>
        <p:sp>
          <p:nvSpPr>
            <p:cNvPr id="27" name="Oval 433174"/>
            <p:cNvSpPr/>
            <p:nvPr/>
          </p:nvSpPr>
          <p:spPr bwMode="gray">
            <a:xfrm rot="19140696" flipH="1">
              <a:off x="312670" y="1173478"/>
              <a:ext cx="55679" cy="23520"/>
            </a:xfrm>
            <a:custGeom>
              <a:avLst/>
              <a:gdLst/>
              <a:ahLst/>
              <a:cxnLst/>
              <a:rect l="l" t="t" r="r" b="b"/>
              <a:pathLst>
                <a:path w="288418" h="121833">
                  <a:moveTo>
                    <a:pt x="144209" y="0"/>
                  </a:moveTo>
                  <a:cubicBezTo>
                    <a:pt x="217198" y="0"/>
                    <a:pt x="278000" y="52177"/>
                    <a:pt x="288418" y="121833"/>
                  </a:cubicBezTo>
                  <a:lnTo>
                    <a:pt x="0" y="121833"/>
                  </a:lnTo>
                  <a:cubicBezTo>
                    <a:pt x="10418" y="52177"/>
                    <a:pt x="71221" y="0"/>
                    <a:pt x="144209" y="0"/>
                  </a:cubicBezTo>
                  <a:close/>
                </a:path>
              </a:pathLst>
            </a:cu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914400" y="1149904"/>
            <a:ext cx="1053058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b="1" dirty="0">
                <a:solidFill>
                  <a:schemeClr val="tx2"/>
                </a:solidFill>
              </a:rPr>
              <a:t>Context</a:t>
            </a:r>
            <a:r>
              <a:rPr lang="en-US" dirty="0">
                <a:solidFill>
                  <a:srgbClr val="000000"/>
                </a:solidFill>
              </a:rPr>
              <a:t>: Large </a:t>
            </a:r>
            <a:r>
              <a:rPr lang="en-US" b="1" dirty="0">
                <a:solidFill>
                  <a:schemeClr val="tx2"/>
                </a:solidFill>
              </a:rPr>
              <a:t>e-commerce player </a:t>
            </a:r>
            <a:r>
              <a:rPr lang="en-US" dirty="0">
                <a:solidFill>
                  <a:srgbClr val="000000"/>
                </a:solidFill>
              </a:rPr>
              <a:t>with business across various verticals and categories for B2C as well as C2C</a:t>
            </a:r>
            <a:endParaRPr lang="en-US" b="1" dirty="0"/>
          </a:p>
        </p:txBody>
      </p:sp>
      <p:grpSp>
        <p:nvGrpSpPr>
          <p:cNvPr id="41" name="Group 40"/>
          <p:cNvGrpSpPr/>
          <p:nvPr/>
        </p:nvGrpSpPr>
        <p:grpSpPr>
          <a:xfrm>
            <a:off x="475488" y="1536751"/>
            <a:ext cx="287407" cy="288896"/>
            <a:chOff x="10918825" y="2293938"/>
            <a:chExt cx="612775" cy="615950"/>
          </a:xfrm>
          <a:solidFill>
            <a:schemeClr val="accent4"/>
          </a:solidFill>
        </p:grpSpPr>
        <p:sp>
          <p:nvSpPr>
            <p:cNvPr id="42" name="Freeform 70"/>
            <p:cNvSpPr>
              <a:spLocks/>
            </p:cNvSpPr>
            <p:nvPr/>
          </p:nvSpPr>
          <p:spPr bwMode="auto">
            <a:xfrm>
              <a:off x="10918825" y="2293938"/>
              <a:ext cx="438150" cy="615950"/>
            </a:xfrm>
            <a:custGeom>
              <a:avLst/>
              <a:gdLst>
                <a:gd name="T0" fmla="*/ 143 w 285"/>
                <a:gd name="T1" fmla="*/ 368 h 400"/>
                <a:gd name="T2" fmla="*/ 23 w 285"/>
                <a:gd name="T3" fmla="*/ 200 h 400"/>
                <a:gd name="T4" fmla="*/ 143 w 285"/>
                <a:gd name="T5" fmla="*/ 32 h 400"/>
                <a:gd name="T6" fmla="*/ 262 w 285"/>
                <a:gd name="T7" fmla="*/ 172 h 400"/>
                <a:gd name="T8" fmla="*/ 285 w 285"/>
                <a:gd name="T9" fmla="*/ 172 h 400"/>
                <a:gd name="T10" fmla="*/ 143 w 285"/>
                <a:gd name="T11" fmla="*/ 0 h 400"/>
                <a:gd name="T12" fmla="*/ 0 w 285"/>
                <a:gd name="T13" fmla="*/ 200 h 400"/>
                <a:gd name="T14" fmla="*/ 143 w 285"/>
                <a:gd name="T15" fmla="*/ 400 h 400"/>
                <a:gd name="T16" fmla="*/ 285 w 285"/>
                <a:gd name="T17" fmla="*/ 228 h 400"/>
                <a:gd name="T18" fmla="*/ 262 w 285"/>
                <a:gd name="T19" fmla="*/ 228 h 400"/>
                <a:gd name="T20" fmla="*/ 143 w 285"/>
                <a:gd name="T21" fmla="*/ 368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5" h="400">
                  <a:moveTo>
                    <a:pt x="143" y="368"/>
                  </a:moveTo>
                  <a:cubicBezTo>
                    <a:pt x="77" y="368"/>
                    <a:pt x="23" y="293"/>
                    <a:pt x="23" y="200"/>
                  </a:cubicBezTo>
                  <a:cubicBezTo>
                    <a:pt x="23" y="107"/>
                    <a:pt x="77" y="32"/>
                    <a:pt x="143" y="32"/>
                  </a:cubicBezTo>
                  <a:cubicBezTo>
                    <a:pt x="203" y="32"/>
                    <a:pt x="252" y="93"/>
                    <a:pt x="262" y="172"/>
                  </a:cubicBezTo>
                  <a:cubicBezTo>
                    <a:pt x="285" y="172"/>
                    <a:pt x="285" y="172"/>
                    <a:pt x="285" y="172"/>
                  </a:cubicBezTo>
                  <a:cubicBezTo>
                    <a:pt x="275" y="75"/>
                    <a:pt x="215" y="0"/>
                    <a:pt x="143" y="0"/>
                  </a:cubicBezTo>
                  <a:cubicBezTo>
                    <a:pt x="64" y="0"/>
                    <a:pt x="0" y="90"/>
                    <a:pt x="0" y="200"/>
                  </a:cubicBezTo>
                  <a:cubicBezTo>
                    <a:pt x="0" y="310"/>
                    <a:pt x="64" y="400"/>
                    <a:pt x="143" y="400"/>
                  </a:cubicBezTo>
                  <a:cubicBezTo>
                    <a:pt x="215" y="400"/>
                    <a:pt x="275" y="325"/>
                    <a:pt x="285" y="228"/>
                  </a:cubicBezTo>
                  <a:cubicBezTo>
                    <a:pt x="262" y="228"/>
                    <a:pt x="262" y="228"/>
                    <a:pt x="262" y="228"/>
                  </a:cubicBezTo>
                  <a:cubicBezTo>
                    <a:pt x="252" y="307"/>
                    <a:pt x="203" y="368"/>
                    <a:pt x="143" y="3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" name="Freeform 71"/>
            <p:cNvSpPr>
              <a:spLocks/>
            </p:cNvSpPr>
            <p:nvPr/>
          </p:nvSpPr>
          <p:spPr bwMode="auto">
            <a:xfrm>
              <a:off x="11007725" y="2419351"/>
              <a:ext cx="258762" cy="365125"/>
            </a:xfrm>
            <a:custGeom>
              <a:avLst/>
              <a:gdLst>
                <a:gd name="T0" fmla="*/ 85 w 168"/>
                <a:gd name="T1" fmla="*/ 32 h 238"/>
                <a:gd name="T2" fmla="*/ 144 w 168"/>
                <a:gd name="T3" fmla="*/ 91 h 238"/>
                <a:gd name="T4" fmla="*/ 168 w 168"/>
                <a:gd name="T5" fmla="*/ 91 h 238"/>
                <a:gd name="T6" fmla="*/ 85 w 168"/>
                <a:gd name="T7" fmla="*/ 0 h 238"/>
                <a:gd name="T8" fmla="*/ 0 w 168"/>
                <a:gd name="T9" fmla="*/ 119 h 238"/>
                <a:gd name="T10" fmla="*/ 85 w 168"/>
                <a:gd name="T11" fmla="*/ 238 h 238"/>
                <a:gd name="T12" fmla="*/ 168 w 168"/>
                <a:gd name="T13" fmla="*/ 147 h 238"/>
                <a:gd name="T14" fmla="*/ 144 w 168"/>
                <a:gd name="T15" fmla="*/ 147 h 238"/>
                <a:gd name="T16" fmla="*/ 85 w 168"/>
                <a:gd name="T17" fmla="*/ 206 h 238"/>
                <a:gd name="T18" fmla="*/ 23 w 168"/>
                <a:gd name="T19" fmla="*/ 119 h 238"/>
                <a:gd name="T20" fmla="*/ 85 w 168"/>
                <a:gd name="T21" fmla="*/ 32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8" h="238">
                  <a:moveTo>
                    <a:pt x="85" y="32"/>
                  </a:moveTo>
                  <a:cubicBezTo>
                    <a:pt x="112" y="32"/>
                    <a:pt x="136" y="57"/>
                    <a:pt x="144" y="91"/>
                  </a:cubicBezTo>
                  <a:cubicBezTo>
                    <a:pt x="168" y="91"/>
                    <a:pt x="168" y="91"/>
                    <a:pt x="168" y="91"/>
                  </a:cubicBezTo>
                  <a:cubicBezTo>
                    <a:pt x="159" y="39"/>
                    <a:pt x="125" y="0"/>
                    <a:pt x="85" y="0"/>
                  </a:cubicBezTo>
                  <a:cubicBezTo>
                    <a:pt x="38" y="0"/>
                    <a:pt x="0" y="53"/>
                    <a:pt x="0" y="119"/>
                  </a:cubicBezTo>
                  <a:cubicBezTo>
                    <a:pt x="0" y="185"/>
                    <a:pt x="38" y="238"/>
                    <a:pt x="85" y="238"/>
                  </a:cubicBezTo>
                  <a:cubicBezTo>
                    <a:pt x="125" y="238"/>
                    <a:pt x="159" y="199"/>
                    <a:pt x="168" y="147"/>
                  </a:cubicBezTo>
                  <a:cubicBezTo>
                    <a:pt x="144" y="147"/>
                    <a:pt x="144" y="147"/>
                    <a:pt x="144" y="147"/>
                  </a:cubicBezTo>
                  <a:cubicBezTo>
                    <a:pt x="136" y="181"/>
                    <a:pt x="112" y="206"/>
                    <a:pt x="85" y="206"/>
                  </a:cubicBezTo>
                  <a:cubicBezTo>
                    <a:pt x="51" y="206"/>
                    <a:pt x="23" y="167"/>
                    <a:pt x="23" y="119"/>
                  </a:cubicBezTo>
                  <a:cubicBezTo>
                    <a:pt x="23" y="71"/>
                    <a:pt x="51" y="32"/>
                    <a:pt x="8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" name="Freeform 72"/>
            <p:cNvSpPr>
              <a:spLocks/>
            </p:cNvSpPr>
            <p:nvPr/>
          </p:nvSpPr>
          <p:spPr bwMode="auto">
            <a:xfrm>
              <a:off x="11093450" y="2540001"/>
              <a:ext cx="438150" cy="123825"/>
            </a:xfrm>
            <a:custGeom>
              <a:avLst/>
              <a:gdLst>
                <a:gd name="T0" fmla="*/ 285 w 285"/>
                <a:gd name="T1" fmla="*/ 12 h 80"/>
                <a:gd name="T2" fmla="*/ 198 w 285"/>
                <a:gd name="T3" fmla="*/ 12 h 80"/>
                <a:gd name="T4" fmla="*/ 182 w 285"/>
                <a:gd name="T5" fmla="*/ 28 h 80"/>
                <a:gd name="T6" fmla="*/ 56 w 285"/>
                <a:gd name="T7" fmla="*/ 28 h 80"/>
                <a:gd name="T8" fmla="*/ 29 w 285"/>
                <a:gd name="T9" fmla="*/ 0 h 80"/>
                <a:gd name="T10" fmla="*/ 0 w 285"/>
                <a:gd name="T11" fmla="*/ 40 h 80"/>
                <a:gd name="T12" fmla="*/ 29 w 285"/>
                <a:gd name="T13" fmla="*/ 80 h 80"/>
                <a:gd name="T14" fmla="*/ 56 w 285"/>
                <a:gd name="T15" fmla="*/ 52 h 80"/>
                <a:gd name="T16" fmla="*/ 182 w 285"/>
                <a:gd name="T17" fmla="*/ 52 h 80"/>
                <a:gd name="T18" fmla="*/ 198 w 285"/>
                <a:gd name="T19" fmla="*/ 68 h 80"/>
                <a:gd name="T20" fmla="*/ 285 w 285"/>
                <a:gd name="T21" fmla="*/ 68 h 80"/>
                <a:gd name="T22" fmla="*/ 257 w 285"/>
                <a:gd name="T23" fmla="*/ 40 h 80"/>
                <a:gd name="T24" fmla="*/ 285 w 285"/>
                <a:gd name="T25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80">
                  <a:moveTo>
                    <a:pt x="285" y="12"/>
                  </a:moveTo>
                  <a:cubicBezTo>
                    <a:pt x="198" y="12"/>
                    <a:pt x="198" y="12"/>
                    <a:pt x="198" y="12"/>
                  </a:cubicBezTo>
                  <a:cubicBezTo>
                    <a:pt x="182" y="28"/>
                    <a:pt x="182" y="28"/>
                    <a:pt x="182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3" y="12"/>
                    <a:pt x="42" y="0"/>
                    <a:pt x="29" y="0"/>
                  </a:cubicBezTo>
                  <a:cubicBezTo>
                    <a:pt x="13" y="0"/>
                    <a:pt x="0" y="18"/>
                    <a:pt x="0" y="40"/>
                  </a:cubicBezTo>
                  <a:cubicBezTo>
                    <a:pt x="0" y="62"/>
                    <a:pt x="13" y="80"/>
                    <a:pt x="29" y="80"/>
                  </a:cubicBezTo>
                  <a:cubicBezTo>
                    <a:pt x="42" y="80"/>
                    <a:pt x="53" y="68"/>
                    <a:pt x="56" y="52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98" y="68"/>
                    <a:pt x="198" y="68"/>
                    <a:pt x="198" y="68"/>
                  </a:cubicBezTo>
                  <a:cubicBezTo>
                    <a:pt x="285" y="68"/>
                    <a:pt x="285" y="68"/>
                    <a:pt x="285" y="68"/>
                  </a:cubicBezTo>
                  <a:cubicBezTo>
                    <a:pt x="257" y="40"/>
                    <a:pt x="257" y="40"/>
                    <a:pt x="257" y="40"/>
                  </a:cubicBezTo>
                  <a:lnTo>
                    <a:pt x="28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914400" y="1558089"/>
            <a:ext cx="1053058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b="1" dirty="0">
                <a:solidFill>
                  <a:schemeClr val="tx2"/>
                </a:solidFill>
              </a:rPr>
              <a:t>Objective</a:t>
            </a:r>
            <a:r>
              <a:rPr lang="en-US" dirty="0">
                <a:solidFill>
                  <a:srgbClr val="000000"/>
                </a:solidFill>
              </a:rPr>
              <a:t>: </a:t>
            </a:r>
            <a:r>
              <a:rPr lang="en-US" b="1" dirty="0">
                <a:solidFill>
                  <a:schemeClr val="tx2"/>
                </a:solidFill>
              </a:rPr>
              <a:t>sales push </a:t>
            </a:r>
            <a:r>
              <a:rPr lang="en-US" dirty="0">
                <a:solidFill>
                  <a:srgbClr val="000000"/>
                </a:solidFill>
              </a:rPr>
              <a:t>for</a:t>
            </a:r>
            <a:r>
              <a:rPr lang="en-US" b="1" dirty="0">
                <a:solidFill>
                  <a:schemeClr val="tx2"/>
                </a:solidFill>
              </a:rPr>
              <a:t> B2C segment</a:t>
            </a:r>
          </a:p>
        </p:txBody>
      </p:sp>
      <p:sp>
        <p:nvSpPr>
          <p:cNvPr id="35" name="Freeform 34"/>
          <p:cNvSpPr/>
          <p:nvPr>
            <p:custDataLst>
              <p:tags r:id="rId4"/>
            </p:custDataLst>
          </p:nvPr>
        </p:nvSpPr>
        <p:spPr>
          <a:xfrm>
            <a:off x="475488" y="2010959"/>
            <a:ext cx="126711" cy="279276"/>
          </a:xfrm>
          <a:custGeom>
            <a:avLst/>
            <a:gdLst>
              <a:gd name="connsiteX0" fmla="*/ 43673 w 120101"/>
              <a:gd name="connsiteY0" fmla="*/ 2730 h 215635"/>
              <a:gd name="connsiteX1" fmla="*/ 0 w 120101"/>
              <a:gd name="connsiteY1" fmla="*/ 100994 h 215635"/>
              <a:gd name="connsiteX2" fmla="*/ 70969 w 120101"/>
              <a:gd name="connsiteY2" fmla="*/ 95534 h 215635"/>
              <a:gd name="connsiteX3" fmla="*/ 13648 w 120101"/>
              <a:gd name="connsiteY3" fmla="*/ 215635 h 215635"/>
              <a:gd name="connsiteX4" fmla="*/ 120101 w 120101"/>
              <a:gd name="connsiteY4" fmla="*/ 81887 h 215635"/>
              <a:gd name="connsiteX5" fmla="*/ 49132 w 120101"/>
              <a:gd name="connsiteY5" fmla="*/ 70968 h 215635"/>
              <a:gd name="connsiteX6" fmla="*/ 95535 w 120101"/>
              <a:gd name="connsiteY6" fmla="*/ 0 h 215635"/>
              <a:gd name="connsiteX7" fmla="*/ 43673 w 120101"/>
              <a:gd name="connsiteY7" fmla="*/ 2730 h 2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101" h="215635">
                <a:moveTo>
                  <a:pt x="43673" y="2730"/>
                </a:moveTo>
                <a:lnTo>
                  <a:pt x="0" y="100994"/>
                </a:lnTo>
                <a:lnTo>
                  <a:pt x="70969" y="95534"/>
                </a:lnTo>
                <a:lnTo>
                  <a:pt x="13648" y="215635"/>
                </a:lnTo>
                <a:lnTo>
                  <a:pt x="120101" y="81887"/>
                </a:lnTo>
                <a:lnTo>
                  <a:pt x="49132" y="70968"/>
                </a:lnTo>
                <a:lnTo>
                  <a:pt x="95535" y="0"/>
                </a:lnTo>
                <a:lnTo>
                  <a:pt x="43673" y="273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cs typeface="Arial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914400" y="1904376"/>
            <a:ext cx="10530585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b="1" dirty="0">
                <a:solidFill>
                  <a:schemeClr val="tx2"/>
                </a:solidFill>
              </a:rPr>
              <a:t>Complication</a:t>
            </a:r>
            <a:r>
              <a:rPr lang="en-US" dirty="0">
                <a:solidFill>
                  <a:srgbClr val="000000"/>
                </a:solidFill>
              </a:rPr>
              <a:t>: Although abundance of analytics and different dashboards available, </a:t>
            </a:r>
            <a:r>
              <a:rPr lang="en-US" b="1" dirty="0">
                <a:solidFill>
                  <a:schemeClr val="tx2"/>
                </a:solidFill>
              </a:rPr>
              <a:t>no structured analytical inventory approach on SKU level</a:t>
            </a:r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>
          <a:xfrm>
            <a:off x="475488" y="2520891"/>
            <a:ext cx="1096949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5308579" y="2644962"/>
            <a:ext cx="0" cy="3665067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>
            <p:custDataLst>
              <p:tags r:id="rId5"/>
            </p:custDataLst>
          </p:nvPr>
        </p:nvSpPr>
        <p:spPr>
          <a:xfrm>
            <a:off x="475487" y="2970653"/>
            <a:ext cx="4637089" cy="33155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dirty="0" smtClean="0"/>
              <a:t>By bringing in </a:t>
            </a:r>
            <a:r>
              <a:rPr lang="en-US" b="1" dirty="0" smtClean="0">
                <a:solidFill>
                  <a:schemeClr val="tx2"/>
                </a:solidFill>
              </a:rPr>
              <a:t>advanced analytics </a:t>
            </a:r>
            <a:r>
              <a:rPr lang="en-US" dirty="0" smtClean="0"/>
              <a:t>expertise we:</a:t>
            </a:r>
          </a:p>
          <a:p>
            <a:pPr lvl="1">
              <a:spcBef>
                <a:spcPct val="20000"/>
              </a:spcBef>
            </a:pPr>
            <a:r>
              <a:rPr lang="en-US" dirty="0" smtClean="0"/>
              <a:t>Developed </a:t>
            </a:r>
            <a:r>
              <a:rPr lang="en-US" b="1" dirty="0" smtClean="0">
                <a:solidFill>
                  <a:schemeClr val="tx2"/>
                </a:solidFill>
              </a:rPr>
              <a:t>holistic and personalized inventory management approach </a:t>
            </a:r>
            <a:r>
              <a:rPr lang="en-US" dirty="0" smtClean="0"/>
              <a:t>on single SKU and seller level</a:t>
            </a:r>
          </a:p>
          <a:p>
            <a:pPr lvl="1">
              <a:spcBef>
                <a:spcPct val="20000"/>
              </a:spcBef>
            </a:pPr>
            <a:r>
              <a:rPr lang="en-US" b="1" dirty="0" smtClean="0">
                <a:solidFill>
                  <a:schemeClr val="tx2"/>
                </a:solidFill>
              </a:rPr>
              <a:t>Identified target inventory </a:t>
            </a:r>
            <a:r>
              <a:rPr lang="en-US" dirty="0" smtClean="0"/>
              <a:t>to focus on an developed </a:t>
            </a:r>
            <a:r>
              <a:rPr lang="en-US" b="1" dirty="0" smtClean="0">
                <a:solidFill>
                  <a:schemeClr val="tx2"/>
                </a:solidFill>
              </a:rPr>
              <a:t>levers and recommended actions</a:t>
            </a:r>
            <a:endParaRPr lang="en-US" dirty="0" smtClean="0">
              <a:solidFill>
                <a:schemeClr val="tx2"/>
              </a:solidFill>
            </a:endParaRPr>
          </a:p>
          <a:p>
            <a:pPr lvl="1">
              <a:spcBef>
                <a:spcPct val="20000"/>
              </a:spcBef>
            </a:pPr>
            <a:r>
              <a:rPr lang="en-US" dirty="0" smtClean="0"/>
              <a:t>Used</a:t>
            </a:r>
            <a:r>
              <a:rPr lang="en-US" b="1" dirty="0" smtClean="0">
                <a:solidFill>
                  <a:schemeClr val="tx2"/>
                </a:solidFill>
              </a:rPr>
              <a:t> structured approach </a:t>
            </a:r>
            <a:r>
              <a:rPr lang="en-US" dirty="0" smtClean="0"/>
              <a:t>to</a:t>
            </a:r>
            <a:r>
              <a:rPr lang="en-US" b="1" dirty="0" smtClean="0">
                <a:solidFill>
                  <a:schemeClr val="tx2"/>
                </a:solidFill>
              </a:rPr>
              <a:t> select sellers </a:t>
            </a:r>
            <a:r>
              <a:rPr lang="en-US" dirty="0" smtClean="0"/>
              <a:t>to</a:t>
            </a:r>
            <a:r>
              <a:rPr lang="en-US" b="1" dirty="0" smtClean="0">
                <a:solidFill>
                  <a:schemeClr val="tx2"/>
                </a:solidFill>
              </a:rPr>
              <a:t> contact </a:t>
            </a:r>
            <a:r>
              <a:rPr lang="en-US" dirty="0" smtClean="0"/>
              <a:t>and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dirty="0" smtClean="0"/>
              <a:t>created </a:t>
            </a:r>
            <a:r>
              <a:rPr lang="en-US" b="1" dirty="0" smtClean="0">
                <a:solidFill>
                  <a:schemeClr val="tx2"/>
                </a:solidFill>
              </a:rPr>
              <a:t>materials for outreach</a:t>
            </a:r>
            <a:endParaRPr lang="en-US" dirty="0" smtClean="0">
              <a:solidFill>
                <a:schemeClr val="tx2"/>
              </a:solidFill>
            </a:endParaRPr>
          </a:p>
          <a:p>
            <a:pPr lvl="1">
              <a:spcBef>
                <a:spcPct val="20000"/>
              </a:spcBef>
            </a:pPr>
            <a:r>
              <a:rPr lang="en-US" dirty="0" smtClean="0"/>
              <a:t>Made </a:t>
            </a:r>
            <a:r>
              <a:rPr lang="en-US" b="1" dirty="0" smtClean="0">
                <a:solidFill>
                  <a:schemeClr val="tx2"/>
                </a:solidFill>
              </a:rPr>
              <a:t>SKUs competitively priced</a:t>
            </a:r>
            <a:r>
              <a:rPr lang="en-US" dirty="0" smtClean="0"/>
              <a:t> </a:t>
            </a:r>
            <a:r>
              <a:rPr lang="en-US" b="1" dirty="0" smtClean="0">
                <a:solidFill>
                  <a:schemeClr val="tx2"/>
                </a:solidFill>
              </a:rPr>
              <a:t>SKUs</a:t>
            </a:r>
            <a:r>
              <a:rPr lang="en-US" dirty="0" smtClean="0"/>
              <a:t> </a:t>
            </a:r>
            <a:r>
              <a:rPr lang="en-US" b="1" dirty="0" smtClean="0">
                <a:solidFill>
                  <a:schemeClr val="tx2"/>
                </a:solidFill>
              </a:rPr>
              <a:t>visible</a:t>
            </a:r>
            <a:r>
              <a:rPr lang="en-US" dirty="0" smtClean="0"/>
              <a:t> to </a:t>
            </a:r>
            <a:r>
              <a:rPr lang="en-US" b="1" dirty="0" smtClean="0">
                <a:solidFill>
                  <a:schemeClr val="tx2"/>
                </a:solidFill>
              </a:rPr>
              <a:t>customers</a:t>
            </a:r>
          </a:p>
          <a:p>
            <a:pPr lvl="1">
              <a:spcBef>
                <a:spcPct val="20000"/>
              </a:spcBef>
            </a:pPr>
            <a:r>
              <a:rPr lang="en-US" dirty="0" smtClean="0"/>
              <a:t>Piloted pragmatically using simple Excel sheets and 2 outreach campaigns </a:t>
            </a:r>
            <a:endParaRPr lang="en-US" dirty="0"/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5504583" y="2970653"/>
            <a:ext cx="6163541" cy="24129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b="1" dirty="0" smtClean="0">
                <a:solidFill>
                  <a:schemeClr val="tx2"/>
                </a:solidFill>
              </a:rPr>
              <a:t>Pilot</a:t>
            </a:r>
            <a:r>
              <a:rPr lang="en-US" dirty="0" smtClean="0"/>
              <a:t> in 2 weeks</a:t>
            </a:r>
          </a:p>
          <a:p>
            <a:pPr lvl="1">
              <a:spcBef>
                <a:spcPct val="20000"/>
              </a:spcBef>
            </a:pPr>
            <a:r>
              <a:rPr lang="en-US" b="1" dirty="0" smtClean="0">
                <a:solidFill>
                  <a:schemeClr val="tx2"/>
                </a:solidFill>
              </a:rPr>
              <a:t>13,000 SKUs identified </a:t>
            </a:r>
            <a:r>
              <a:rPr lang="en-US" dirty="0" smtClean="0"/>
              <a:t>as prioritized target inventory </a:t>
            </a:r>
          </a:p>
          <a:p>
            <a:pPr lvl="1">
              <a:spcBef>
                <a:spcPct val="20000"/>
              </a:spcBef>
            </a:pPr>
            <a:r>
              <a:rPr lang="en-US" dirty="0" smtClean="0"/>
              <a:t>About </a:t>
            </a:r>
            <a:r>
              <a:rPr lang="en-US" b="1" dirty="0" smtClean="0">
                <a:solidFill>
                  <a:schemeClr val="tx2"/>
                </a:solidFill>
              </a:rPr>
              <a:t>200 sellers contacted </a:t>
            </a:r>
            <a:r>
              <a:rPr lang="en-US" dirty="0" smtClean="0"/>
              <a:t>in 2 weeks</a:t>
            </a:r>
          </a:p>
          <a:p>
            <a:pPr lvl="1">
              <a:spcBef>
                <a:spcPct val="20000"/>
              </a:spcBef>
            </a:pPr>
            <a:r>
              <a:rPr lang="en-US" dirty="0" smtClean="0"/>
              <a:t>More than </a:t>
            </a:r>
            <a:r>
              <a:rPr lang="en-US" b="1" dirty="0" smtClean="0">
                <a:solidFill>
                  <a:schemeClr val="tx2"/>
                </a:solidFill>
              </a:rPr>
              <a:t>5,000 competitively </a:t>
            </a:r>
            <a:br>
              <a:rPr lang="en-US" b="1" dirty="0" smtClean="0">
                <a:solidFill>
                  <a:schemeClr val="tx2"/>
                </a:solidFill>
              </a:rPr>
            </a:br>
            <a:r>
              <a:rPr lang="en-US" b="1" dirty="0" smtClean="0">
                <a:solidFill>
                  <a:schemeClr val="tx2"/>
                </a:solidFill>
              </a:rPr>
              <a:t>priced SKUs </a:t>
            </a:r>
            <a:r>
              <a:rPr lang="en-US" dirty="0" smtClean="0"/>
              <a:t>identified and </a:t>
            </a:r>
            <a:br>
              <a:rPr lang="en-US" dirty="0" smtClean="0"/>
            </a:br>
            <a:r>
              <a:rPr lang="en-US" b="1" dirty="0" smtClean="0">
                <a:solidFill>
                  <a:schemeClr val="tx2"/>
                </a:solidFill>
              </a:rPr>
              <a:t>uploaded into Deals </a:t>
            </a:r>
            <a:r>
              <a:rPr lang="en-US" dirty="0" smtClean="0"/>
              <a:t>in a </a:t>
            </a:r>
            <a:br>
              <a:rPr lang="en-US" dirty="0" smtClean="0"/>
            </a:br>
            <a:r>
              <a:rPr lang="en-US" dirty="0" smtClean="0"/>
              <a:t>few days </a:t>
            </a:r>
          </a:p>
          <a:p>
            <a:pPr lvl="1">
              <a:spcBef>
                <a:spcPct val="20000"/>
              </a:spcBef>
            </a:pPr>
            <a:r>
              <a:rPr lang="en-US" b="1" dirty="0" smtClean="0">
                <a:solidFill>
                  <a:schemeClr val="tx2"/>
                </a:solidFill>
              </a:rPr>
              <a:t>~12%+ revenue impact </a:t>
            </a:r>
            <a:r>
              <a:rPr lang="en-US" dirty="0" smtClean="0"/>
              <a:t>in </a:t>
            </a:r>
            <a:br>
              <a:rPr lang="en-US" dirty="0" smtClean="0"/>
            </a:br>
            <a:r>
              <a:rPr lang="en-US" dirty="0" smtClean="0"/>
              <a:t>first few weeks </a:t>
            </a:r>
            <a:endParaRPr lang="en-US" dirty="0"/>
          </a:p>
        </p:txBody>
      </p:sp>
      <p:sp>
        <p:nvSpPr>
          <p:cNvPr id="57" name="Rectangle 56"/>
          <p:cNvSpPr/>
          <p:nvPr/>
        </p:nvSpPr>
        <p:spPr>
          <a:xfrm>
            <a:off x="10543032" y="230189"/>
            <a:ext cx="1307105" cy="46803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Clien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lc="http://schemas.openxmlformats.org/drawingml/2006/lockedCanvas" xmlns="" xmlns:a16="http://schemas.microsoft.com/office/drawing/2014/main" id="{20B50B48-D989-4F7D-8E3F-5FA60EC08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174360" y="0"/>
            <a:ext cx="522899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800" smtClean="0">
                <a:solidFill>
                  <a:schemeClr val="bg1"/>
                </a:solidFill>
              </a:rPr>
              <a:t>HIT025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lc="http://schemas.openxmlformats.org/drawingml/2006/lockedCanvas" xmlns="" xmlns:a16="http://schemas.microsoft.com/office/drawing/2014/main" id="{DCCD0F96-8780-4AD8-BAA1-78A367E68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6206" y="0"/>
            <a:ext cx="2116285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chemeClr val="bg1"/>
                </a:solidFill>
              </a:rPr>
              <a:t>HIGH TECH (TMT) </a:t>
            </a:r>
            <a:r>
              <a:rPr lang="pl-PL" sz="800" dirty="0" smtClean="0">
                <a:solidFill>
                  <a:schemeClr val="bg1"/>
                </a:solidFill>
              </a:rPr>
              <a:t>| WESTERN EUROPE</a:t>
            </a:r>
          </a:p>
        </p:txBody>
      </p:sp>
    </p:spTree>
    <p:extLst>
      <p:ext uri="{BB962C8B-B14F-4D97-AF65-F5344CB8AC3E}">
        <p14:creationId xmlns:p14="http://schemas.microsoft.com/office/powerpoint/2010/main" val="357461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297053"/>
              </p:ext>
            </p:extLst>
          </p:nvPr>
        </p:nvGraphicFramePr>
        <p:xfrm>
          <a:off x="2075" y="2125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49" name="think-cell Slide" r:id="rId17" imgW="530" imgH="528" progId="TCLayout.ActiveDocument.1">
                  <p:embed/>
                </p:oleObj>
              </mc:Choice>
              <mc:Fallback>
                <p:oleObj name="think-cell Slide" r:id="rId17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075" y="2125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Our objective was to test and learn end to end inventory cycle approach for best-selling SKUs </a:t>
            </a:r>
          </a:p>
        </p:txBody>
      </p:sp>
      <p:sp>
        <p:nvSpPr>
          <p:cNvPr id="83" name="Freeform 82"/>
          <p:cNvSpPr/>
          <p:nvPr/>
        </p:nvSpPr>
        <p:spPr>
          <a:xfrm rot="10800000">
            <a:off x="6226036" y="3995618"/>
            <a:ext cx="5550941" cy="2348029"/>
          </a:xfrm>
          <a:custGeom>
            <a:avLst/>
            <a:gdLst>
              <a:gd name="connsiteX0" fmla="*/ 5550941 w 5550941"/>
              <a:gd name="connsiteY0" fmla="*/ 2348029 h 2348029"/>
              <a:gd name="connsiteX1" fmla="*/ 3910911 w 5550941"/>
              <a:gd name="connsiteY1" fmla="*/ 2348029 h 2348029"/>
              <a:gd name="connsiteX2" fmla="*/ 2308709 w 5550941"/>
              <a:gd name="connsiteY2" fmla="*/ 2348029 h 2348029"/>
              <a:gd name="connsiteX3" fmla="*/ 0 w 5550941"/>
              <a:gd name="connsiteY3" fmla="*/ 2348029 h 2348029"/>
              <a:gd name="connsiteX4" fmla="*/ 0 w 5550941"/>
              <a:gd name="connsiteY4" fmla="*/ 0 h 2348029"/>
              <a:gd name="connsiteX5" fmla="*/ 3554951 w 5550941"/>
              <a:gd name="connsiteY5" fmla="*/ 0 h 2348029"/>
              <a:gd name="connsiteX6" fmla="*/ 3910911 w 5550941"/>
              <a:gd name="connsiteY6" fmla="*/ 0 h 2348029"/>
              <a:gd name="connsiteX7" fmla="*/ 4220470 w 5550941"/>
              <a:gd name="connsiteY7" fmla="*/ 0 h 2348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0941" h="2348029">
                <a:moveTo>
                  <a:pt x="5550941" y="2348029"/>
                </a:moveTo>
                <a:lnTo>
                  <a:pt x="3910911" y="2348029"/>
                </a:lnTo>
                <a:lnTo>
                  <a:pt x="2308709" y="2348029"/>
                </a:lnTo>
                <a:lnTo>
                  <a:pt x="0" y="2348029"/>
                </a:lnTo>
                <a:lnTo>
                  <a:pt x="0" y="0"/>
                </a:lnTo>
                <a:lnTo>
                  <a:pt x="3554951" y="0"/>
                </a:lnTo>
                <a:lnTo>
                  <a:pt x="3910911" y="0"/>
                </a:lnTo>
                <a:lnTo>
                  <a:pt x="422047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2091" dirty="0"/>
          </a:p>
        </p:txBody>
      </p:sp>
      <p:sp>
        <p:nvSpPr>
          <p:cNvPr id="77" name="Rectangle 24"/>
          <p:cNvSpPr>
            <a:spLocks/>
          </p:cNvSpPr>
          <p:nvPr/>
        </p:nvSpPr>
        <p:spPr>
          <a:xfrm>
            <a:off x="4625218" y="1454767"/>
            <a:ext cx="7323894" cy="111457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091" dirty="0"/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454067" y="1454768"/>
            <a:ext cx="1053173" cy="61952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>
              <a:buNone/>
            </a:pPr>
            <a:r>
              <a:rPr lang="de-DE" sz="1830" b="1" dirty="0">
                <a:solidFill>
                  <a:schemeClr val="tx2"/>
                </a:solidFill>
              </a:rPr>
              <a:t>Inventory</a:t>
            </a:r>
          </a:p>
          <a:p>
            <a:pPr marL="0" indent="0">
              <a:buNone/>
            </a:pPr>
            <a:r>
              <a:rPr lang="de-DE" sz="1830" b="1" dirty="0">
                <a:solidFill>
                  <a:schemeClr val="tx2"/>
                </a:solidFill>
              </a:rPr>
              <a:t>pyramid 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1652960" y="1454768"/>
            <a:ext cx="0" cy="4888882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Freeform 46"/>
          <p:cNvSpPr>
            <a:spLocks/>
          </p:cNvSpPr>
          <p:nvPr/>
        </p:nvSpPr>
        <p:spPr>
          <a:xfrm>
            <a:off x="1855016" y="2726270"/>
            <a:ext cx="5540405" cy="3617379"/>
          </a:xfrm>
          <a:custGeom>
            <a:avLst/>
            <a:gdLst>
              <a:gd name="connsiteX0" fmla="*/ 1223988 w 3308436"/>
              <a:gd name="connsiteY0" fmla="*/ 0 h 2342595"/>
              <a:gd name="connsiteX1" fmla="*/ 2084448 w 3308436"/>
              <a:gd name="connsiteY1" fmla="*/ 0 h 2342595"/>
              <a:gd name="connsiteX2" fmla="*/ 3308436 w 3308436"/>
              <a:gd name="connsiteY2" fmla="*/ 2342595 h 2342595"/>
              <a:gd name="connsiteX3" fmla="*/ 0 w 3308436"/>
              <a:gd name="connsiteY3" fmla="*/ 2342595 h 2342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8436" h="2342595">
                <a:moveTo>
                  <a:pt x="1223988" y="0"/>
                </a:moveTo>
                <a:lnTo>
                  <a:pt x="2084448" y="0"/>
                </a:lnTo>
                <a:lnTo>
                  <a:pt x="3308436" y="2342595"/>
                </a:lnTo>
                <a:lnTo>
                  <a:pt x="0" y="234259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68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1855016" y="5093579"/>
            <a:ext cx="4939594" cy="1354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1855016" y="3840845"/>
            <a:ext cx="5540405" cy="13816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tx1"/>
              </a:solidFill>
            </a:endParaRPr>
          </a:p>
        </p:txBody>
      </p:sp>
      <p:sp>
        <p:nvSpPr>
          <p:cNvPr id="50" name="Rectangle 49"/>
          <p:cNvSpPr>
            <a:spLocks/>
          </p:cNvSpPr>
          <p:nvPr/>
        </p:nvSpPr>
        <p:spPr>
          <a:xfrm>
            <a:off x="1855016" y="2569341"/>
            <a:ext cx="5540405" cy="1569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0" dirty="0">
              <a:solidFill>
                <a:schemeClr val="tx1"/>
              </a:solidFill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>
          <a:xfrm>
            <a:off x="3993664" y="1454767"/>
            <a:ext cx="1263109" cy="1114574"/>
          </a:xfrm>
          <a:custGeom>
            <a:avLst/>
            <a:gdLst>
              <a:gd name="connsiteX0" fmla="*/ 377131 w 754262"/>
              <a:gd name="connsiteY0" fmla="*/ 0 h 721792"/>
              <a:gd name="connsiteX1" fmla="*/ 754262 w 754262"/>
              <a:gd name="connsiteY1" fmla="*/ 721792 h 721792"/>
              <a:gd name="connsiteX2" fmla="*/ 0 w 754262"/>
              <a:gd name="connsiteY2" fmla="*/ 721792 h 721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4262" h="721792">
                <a:moveTo>
                  <a:pt x="377131" y="0"/>
                </a:moveTo>
                <a:lnTo>
                  <a:pt x="754262" y="721792"/>
                </a:lnTo>
                <a:lnTo>
                  <a:pt x="0" y="7217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68" dirty="0">
              <a:solidFill>
                <a:schemeClr val="tx1"/>
              </a:solidFill>
            </a:endParaRP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3897762" y="2962190"/>
            <a:ext cx="1454912" cy="64273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830" b="1" dirty="0">
                <a:solidFill>
                  <a:schemeClr val="bg1"/>
                </a:solidFill>
              </a:rPr>
              <a:t>Strategic</a:t>
            </a:r>
          </a:p>
          <a:p>
            <a:pPr algn="ctr"/>
            <a:r>
              <a:rPr lang="en-US" sz="1830" b="1" dirty="0">
                <a:solidFill>
                  <a:schemeClr val="bg1"/>
                </a:solidFill>
              </a:rPr>
              <a:t>Propositions</a:t>
            </a:r>
          </a:p>
        </p:txBody>
      </p:sp>
      <p:sp>
        <p:nvSpPr>
          <p:cNvPr id="53" name="TextBox 52"/>
          <p:cNvSpPr txBox="1">
            <a:spLocks/>
          </p:cNvSpPr>
          <p:nvPr/>
        </p:nvSpPr>
        <p:spPr>
          <a:xfrm>
            <a:off x="3897762" y="5625679"/>
            <a:ext cx="1454912" cy="32136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830" b="1" dirty="0">
                <a:solidFill>
                  <a:schemeClr val="bg1"/>
                </a:solidFill>
              </a:rPr>
              <a:t>Long tail</a:t>
            </a: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3897762" y="4214925"/>
            <a:ext cx="1454912" cy="64273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830" b="1" dirty="0">
                <a:solidFill>
                  <a:schemeClr val="bg1"/>
                </a:solidFill>
              </a:rPr>
              <a:t>Emerging </a:t>
            </a:r>
            <a:br>
              <a:rPr lang="en-US" sz="1830" b="1" dirty="0">
                <a:solidFill>
                  <a:schemeClr val="bg1"/>
                </a:solidFill>
              </a:rPr>
            </a:br>
            <a:r>
              <a:rPr lang="en-US" sz="1830" b="1" dirty="0">
                <a:solidFill>
                  <a:schemeClr val="bg1"/>
                </a:solidFill>
              </a:rPr>
              <a:t>categories</a:t>
            </a: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3897762" y="1861041"/>
            <a:ext cx="1454912" cy="64273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830" b="1" dirty="0">
                <a:solidFill>
                  <a:schemeClr val="bg1"/>
                </a:solidFill>
              </a:rPr>
              <a:t>Best </a:t>
            </a:r>
          </a:p>
          <a:p>
            <a:pPr algn="ctr"/>
            <a:r>
              <a:rPr lang="en-US" sz="1830" b="1" dirty="0">
                <a:solidFill>
                  <a:schemeClr val="bg1"/>
                </a:solidFill>
              </a:rPr>
              <a:t>Selling</a:t>
            </a:r>
          </a:p>
        </p:txBody>
      </p:sp>
      <p:grpSp>
        <p:nvGrpSpPr>
          <p:cNvPr id="79" name="Group 78"/>
          <p:cNvGrpSpPr/>
          <p:nvPr>
            <p:custDataLst>
              <p:tags r:id="rId4"/>
            </p:custDataLst>
          </p:nvPr>
        </p:nvGrpSpPr>
        <p:grpSpPr>
          <a:xfrm>
            <a:off x="5792127" y="1681705"/>
            <a:ext cx="1411313" cy="660702"/>
            <a:chOff x="4432397" y="1246348"/>
            <a:chExt cx="1080000" cy="443059"/>
          </a:xfrm>
          <a:solidFill>
            <a:schemeClr val="accent4"/>
          </a:solidFill>
        </p:grpSpPr>
        <p:sp>
          <p:nvSpPr>
            <p:cNvPr id="57" name="Freeform 56"/>
            <p:cNvSpPr/>
            <p:nvPr>
              <p:custDataLst>
                <p:tags r:id="rId14"/>
              </p:custDataLst>
            </p:nvPr>
          </p:nvSpPr>
          <p:spPr bwMode="auto">
            <a:xfrm>
              <a:off x="4432397" y="1246348"/>
              <a:ext cx="1080000" cy="44305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0136 w 1828800"/>
                <a:gd name="connsiteY5" fmla="*/ 457202 h 914402"/>
                <a:gd name="connsiteX0" fmla="*/ 0 w 1828800"/>
                <a:gd name="connsiteY0" fmla="*/ 0 h 914402"/>
                <a:gd name="connsiteX1" fmla="*/ 166866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0136 w 1828800"/>
                <a:gd name="connsiteY5" fmla="*/ 457202 h 914402"/>
                <a:gd name="connsiteX0" fmla="*/ 0 w 1828800"/>
                <a:gd name="connsiteY0" fmla="*/ 0 h 914402"/>
                <a:gd name="connsiteX1" fmla="*/ 1668664 w 1828800"/>
                <a:gd name="connsiteY1" fmla="*/ 0 h 914402"/>
                <a:gd name="connsiteX2" fmla="*/ 1828800 w 1828800"/>
                <a:gd name="connsiteY2" fmla="*/ 457200 h 914402"/>
                <a:gd name="connsiteX3" fmla="*/ 1668664 w 1828800"/>
                <a:gd name="connsiteY3" fmla="*/ 914402 h 914402"/>
                <a:gd name="connsiteX4" fmla="*/ 0 w 1828800"/>
                <a:gd name="connsiteY4" fmla="*/ 914400 h 914402"/>
                <a:gd name="connsiteX5" fmla="*/ 160136 w 1828800"/>
                <a:gd name="connsiteY5" fmla="*/ 457202 h 914402"/>
                <a:gd name="connsiteX0" fmla="*/ 0 w 1828800"/>
                <a:gd name="connsiteY0" fmla="*/ 0 h 914402"/>
                <a:gd name="connsiteX1" fmla="*/ 1668664 w 1828800"/>
                <a:gd name="connsiteY1" fmla="*/ 0 h 914402"/>
                <a:gd name="connsiteX2" fmla="*/ 1828800 w 1828800"/>
                <a:gd name="connsiteY2" fmla="*/ 457200 h 914402"/>
                <a:gd name="connsiteX3" fmla="*/ 1668664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8664 w 1828800"/>
                <a:gd name="connsiteY1" fmla="*/ 0 h 914402"/>
                <a:gd name="connsiteX2" fmla="*/ 1828800 w 1828800"/>
                <a:gd name="connsiteY2" fmla="*/ 457200 h 914402"/>
                <a:gd name="connsiteX3" fmla="*/ 1668664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8664 w 1828800"/>
                <a:gd name="connsiteY1" fmla="*/ 0 h 914402"/>
                <a:gd name="connsiteX2" fmla="*/ 1828800 w 1828800"/>
                <a:gd name="connsiteY2" fmla="*/ 457200 h 914402"/>
                <a:gd name="connsiteX3" fmla="*/ 1668664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8664 w 1828800"/>
                <a:gd name="connsiteY1" fmla="*/ 0 h 914402"/>
                <a:gd name="connsiteX2" fmla="*/ 1828800 w 1828800"/>
                <a:gd name="connsiteY2" fmla="*/ 457200 h 914402"/>
                <a:gd name="connsiteX3" fmla="*/ 1668664 w 1828800"/>
                <a:gd name="connsiteY3" fmla="*/ 914402 h 914402"/>
                <a:gd name="connsiteX4" fmla="*/ 0 w 1828800"/>
                <a:gd name="connsiteY4" fmla="*/ 914400 h 914402"/>
                <a:gd name="connsiteX5" fmla="*/ 160136 w 1828800"/>
                <a:gd name="connsiteY5" fmla="*/ 457202 h 914402"/>
                <a:gd name="connsiteX0" fmla="*/ 0 w 1828800"/>
                <a:gd name="connsiteY0" fmla="*/ 0 h 914402"/>
                <a:gd name="connsiteX1" fmla="*/ 1668664 w 1828800"/>
                <a:gd name="connsiteY1" fmla="*/ 0 h 914402"/>
                <a:gd name="connsiteX2" fmla="*/ 1828800 w 1828800"/>
                <a:gd name="connsiteY2" fmla="*/ 457200 h 914402"/>
                <a:gd name="connsiteX3" fmla="*/ 1668664 w 1828800"/>
                <a:gd name="connsiteY3" fmla="*/ 914402 h 914402"/>
                <a:gd name="connsiteX4" fmla="*/ 0 w 1828800"/>
                <a:gd name="connsiteY4" fmla="*/ 914400 h 914402"/>
                <a:gd name="connsiteX5" fmla="*/ 160136 w 1828800"/>
                <a:gd name="connsiteY5" fmla="*/ 457202 h 914402"/>
                <a:gd name="connsiteX0" fmla="*/ 0 w 1828800"/>
                <a:gd name="connsiteY0" fmla="*/ 0 h 914402"/>
                <a:gd name="connsiteX1" fmla="*/ 1668664 w 1828800"/>
                <a:gd name="connsiteY1" fmla="*/ 0 h 914402"/>
                <a:gd name="connsiteX2" fmla="*/ 1828800 w 1828800"/>
                <a:gd name="connsiteY2" fmla="*/ 457200 h 914402"/>
                <a:gd name="connsiteX3" fmla="*/ 1668664 w 1828800"/>
                <a:gd name="connsiteY3" fmla="*/ 914402 h 914402"/>
                <a:gd name="connsiteX4" fmla="*/ 0 w 1828800"/>
                <a:gd name="connsiteY4" fmla="*/ 914400 h 914402"/>
                <a:gd name="connsiteX5" fmla="*/ 160136 w 1828800"/>
                <a:gd name="connsiteY5" fmla="*/ 457202 h 914402"/>
                <a:gd name="connsiteX0" fmla="*/ 0 w 1828800"/>
                <a:gd name="connsiteY0" fmla="*/ 0 h 914402"/>
                <a:gd name="connsiteX1" fmla="*/ 1668664 w 1828800"/>
                <a:gd name="connsiteY1" fmla="*/ 0 h 914402"/>
                <a:gd name="connsiteX2" fmla="*/ 1828800 w 1828800"/>
                <a:gd name="connsiteY2" fmla="*/ 457200 h 914402"/>
                <a:gd name="connsiteX3" fmla="*/ 1668664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2161 w 1828800"/>
                <a:gd name="connsiteY1" fmla="*/ 0 h 914402"/>
                <a:gd name="connsiteX2" fmla="*/ 1828800 w 1828800"/>
                <a:gd name="connsiteY2" fmla="*/ 457200 h 914402"/>
                <a:gd name="connsiteX3" fmla="*/ 1668664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2161 w 1828800"/>
                <a:gd name="connsiteY1" fmla="*/ 0 h 914402"/>
                <a:gd name="connsiteX2" fmla="*/ 1828800 w 1828800"/>
                <a:gd name="connsiteY2" fmla="*/ 457200 h 914402"/>
                <a:gd name="connsiteX3" fmla="*/ 166216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2161 w 1828800"/>
                <a:gd name="connsiteY1" fmla="*/ 0 h 914402"/>
                <a:gd name="connsiteX2" fmla="*/ 1828800 w 1828800"/>
                <a:gd name="connsiteY2" fmla="*/ 457200 h 914402"/>
                <a:gd name="connsiteX3" fmla="*/ 1662161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1 w 1828800"/>
                <a:gd name="connsiteY1" fmla="*/ 0 h 914402"/>
                <a:gd name="connsiteX2" fmla="*/ 1828800 w 1828800"/>
                <a:gd name="connsiteY2" fmla="*/ 457200 h 914402"/>
                <a:gd name="connsiteX3" fmla="*/ 1662161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1 w 1828800"/>
                <a:gd name="connsiteY1" fmla="*/ 0 h 914402"/>
                <a:gd name="connsiteX2" fmla="*/ 1828800 w 1828800"/>
                <a:gd name="connsiteY2" fmla="*/ 457200 h 914402"/>
                <a:gd name="connsiteX3" fmla="*/ 1662161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1 w 1828800"/>
                <a:gd name="connsiteY1" fmla="*/ 0 h 914402"/>
                <a:gd name="connsiteX2" fmla="*/ 1828800 w 1828800"/>
                <a:gd name="connsiteY2" fmla="*/ 457200 h 914402"/>
                <a:gd name="connsiteX3" fmla="*/ 166216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2161 w 1828800"/>
                <a:gd name="connsiteY1" fmla="*/ 0 h 914402"/>
                <a:gd name="connsiteX2" fmla="*/ 1828800 w 1828800"/>
                <a:gd name="connsiteY2" fmla="*/ 457200 h 914402"/>
                <a:gd name="connsiteX3" fmla="*/ 166216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2161 w 1828800"/>
                <a:gd name="connsiteY1" fmla="*/ 0 h 914402"/>
                <a:gd name="connsiteX2" fmla="*/ 1828800 w 1828800"/>
                <a:gd name="connsiteY2" fmla="*/ 457200 h 914402"/>
                <a:gd name="connsiteX3" fmla="*/ 166216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2161 w 1828800"/>
                <a:gd name="connsiteY1" fmla="*/ 0 h 914402"/>
                <a:gd name="connsiteX2" fmla="*/ 1828800 w 1828800"/>
                <a:gd name="connsiteY2" fmla="*/ 457200 h 914402"/>
                <a:gd name="connsiteX3" fmla="*/ 166216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7315 w 1828800"/>
                <a:gd name="connsiteY1" fmla="*/ 0 h 914402"/>
                <a:gd name="connsiteX2" fmla="*/ 1828800 w 1828800"/>
                <a:gd name="connsiteY2" fmla="*/ 457200 h 914402"/>
                <a:gd name="connsiteX3" fmla="*/ 166216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7315 w 1828800"/>
                <a:gd name="connsiteY1" fmla="*/ 0 h 914402"/>
                <a:gd name="connsiteX2" fmla="*/ 1828800 w 1828800"/>
                <a:gd name="connsiteY2" fmla="*/ 457200 h 914402"/>
                <a:gd name="connsiteX3" fmla="*/ 171731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7315 w 1828800"/>
                <a:gd name="connsiteY1" fmla="*/ 0 h 914402"/>
                <a:gd name="connsiteX2" fmla="*/ 1828800 w 1828800"/>
                <a:gd name="connsiteY2" fmla="*/ 457200 h 914402"/>
                <a:gd name="connsiteX3" fmla="*/ 171731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71731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9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9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9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0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0 w 1828800"/>
                <a:gd name="connsiteY1" fmla="*/ 0 h 914402"/>
                <a:gd name="connsiteX2" fmla="*/ 1828800 w 1828800"/>
                <a:gd name="connsiteY2" fmla="*/ 457200 h 914402"/>
                <a:gd name="connsiteX3" fmla="*/ 165883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0 w 1828800"/>
                <a:gd name="connsiteY1" fmla="*/ 0 h 914402"/>
                <a:gd name="connsiteX2" fmla="*/ 1828800 w 1828800"/>
                <a:gd name="connsiteY2" fmla="*/ 457200 h 914402"/>
                <a:gd name="connsiteX3" fmla="*/ 1658830 w 1828800"/>
                <a:gd name="connsiteY3" fmla="*/ 914402 h 914402"/>
                <a:gd name="connsiteX4" fmla="*/ 0 w 1828800"/>
                <a:gd name="connsiteY4" fmla="*/ 914400 h 914402"/>
                <a:gd name="connsiteX5" fmla="*/ 169970 w 1828800"/>
                <a:gd name="connsiteY5" fmla="*/ 457203 h 914402"/>
                <a:gd name="connsiteX0" fmla="*/ 0 w 1828800"/>
                <a:gd name="connsiteY0" fmla="*/ 0 h 914402"/>
                <a:gd name="connsiteX1" fmla="*/ 1658830 w 1828800"/>
                <a:gd name="connsiteY1" fmla="*/ 0 h 914402"/>
                <a:gd name="connsiteX2" fmla="*/ 1828800 w 1828800"/>
                <a:gd name="connsiteY2" fmla="*/ 457200 h 914402"/>
                <a:gd name="connsiteX3" fmla="*/ 1658830 w 1828800"/>
                <a:gd name="connsiteY3" fmla="*/ 914402 h 914402"/>
                <a:gd name="connsiteX4" fmla="*/ 0 w 1828800"/>
                <a:gd name="connsiteY4" fmla="*/ 914400 h 914402"/>
                <a:gd name="connsiteX5" fmla="*/ 169970 w 1828800"/>
                <a:gd name="connsiteY5" fmla="*/ 457203 h 914402"/>
                <a:gd name="connsiteX0" fmla="*/ 0 w 1828800"/>
                <a:gd name="connsiteY0" fmla="*/ 0 h 914402"/>
                <a:gd name="connsiteX1" fmla="*/ 1658830 w 1828800"/>
                <a:gd name="connsiteY1" fmla="*/ 0 h 914402"/>
                <a:gd name="connsiteX2" fmla="*/ 1828800 w 1828800"/>
                <a:gd name="connsiteY2" fmla="*/ 457200 h 914402"/>
                <a:gd name="connsiteX3" fmla="*/ 1658830 w 1828800"/>
                <a:gd name="connsiteY3" fmla="*/ 914402 h 914402"/>
                <a:gd name="connsiteX4" fmla="*/ 0 w 1828800"/>
                <a:gd name="connsiteY4" fmla="*/ 914400 h 914402"/>
                <a:gd name="connsiteX5" fmla="*/ 169970 w 1828800"/>
                <a:gd name="connsiteY5" fmla="*/ 457203 h 914402"/>
                <a:gd name="connsiteX0" fmla="*/ 0 w 1828800"/>
                <a:gd name="connsiteY0" fmla="*/ 0 h 914402"/>
                <a:gd name="connsiteX1" fmla="*/ 1658830 w 1828800"/>
                <a:gd name="connsiteY1" fmla="*/ 0 h 914402"/>
                <a:gd name="connsiteX2" fmla="*/ 1828800 w 1828800"/>
                <a:gd name="connsiteY2" fmla="*/ 457200 h 914402"/>
                <a:gd name="connsiteX3" fmla="*/ 165883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0 w 1828800"/>
                <a:gd name="connsiteY1" fmla="*/ 0 h 914402"/>
                <a:gd name="connsiteX2" fmla="*/ 1828800 w 1828800"/>
                <a:gd name="connsiteY2" fmla="*/ 457200 h 914402"/>
                <a:gd name="connsiteX3" fmla="*/ 165883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0 w 1828800"/>
                <a:gd name="connsiteY1" fmla="*/ 0 h 914402"/>
                <a:gd name="connsiteX2" fmla="*/ 1828800 w 1828800"/>
                <a:gd name="connsiteY2" fmla="*/ 457200 h 914402"/>
                <a:gd name="connsiteX3" fmla="*/ 165883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0 w 1828800"/>
                <a:gd name="connsiteY1" fmla="*/ 0 h 914402"/>
                <a:gd name="connsiteX2" fmla="*/ 1828800 w 1828800"/>
                <a:gd name="connsiteY2" fmla="*/ 457200 h 914402"/>
                <a:gd name="connsiteX3" fmla="*/ 165883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7943 w 1828800"/>
                <a:gd name="connsiteY1" fmla="*/ 0 h 914402"/>
                <a:gd name="connsiteX2" fmla="*/ 1828800 w 1828800"/>
                <a:gd name="connsiteY2" fmla="*/ 457200 h 914402"/>
                <a:gd name="connsiteX3" fmla="*/ 165883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7943 w 1828800"/>
                <a:gd name="connsiteY1" fmla="*/ 0 h 914402"/>
                <a:gd name="connsiteX2" fmla="*/ 1828800 w 1828800"/>
                <a:gd name="connsiteY2" fmla="*/ 457200 h 914402"/>
                <a:gd name="connsiteX3" fmla="*/ 162794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7943 w 1828800"/>
                <a:gd name="connsiteY1" fmla="*/ 0 h 914402"/>
                <a:gd name="connsiteX2" fmla="*/ 1828800 w 1828800"/>
                <a:gd name="connsiteY2" fmla="*/ 457200 h 914402"/>
                <a:gd name="connsiteX3" fmla="*/ 162794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6274 w 1828800"/>
                <a:gd name="connsiteY1" fmla="*/ 0 h 914402"/>
                <a:gd name="connsiteX2" fmla="*/ 1828800 w 1828800"/>
                <a:gd name="connsiteY2" fmla="*/ 457200 h 914402"/>
                <a:gd name="connsiteX3" fmla="*/ 162794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6274 w 1828800"/>
                <a:gd name="connsiteY1" fmla="*/ 0 h 914402"/>
                <a:gd name="connsiteX2" fmla="*/ 1828800 w 1828800"/>
                <a:gd name="connsiteY2" fmla="*/ 457200 h 914402"/>
                <a:gd name="connsiteX3" fmla="*/ 1656274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6274 w 1828800"/>
                <a:gd name="connsiteY1" fmla="*/ 0 h 914402"/>
                <a:gd name="connsiteX2" fmla="*/ 1828800 w 1828800"/>
                <a:gd name="connsiteY2" fmla="*/ 457200 h 914402"/>
                <a:gd name="connsiteX3" fmla="*/ 1656274 w 1828800"/>
                <a:gd name="connsiteY3" fmla="*/ 914402 h 914402"/>
                <a:gd name="connsiteX4" fmla="*/ 0 w 1828800"/>
                <a:gd name="connsiteY4" fmla="*/ 914400 h 914402"/>
                <a:gd name="connsiteX5" fmla="*/ 16368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56274 w 1828800"/>
                <a:gd name="connsiteY3" fmla="*/ 914402 h 914402"/>
                <a:gd name="connsiteX4" fmla="*/ 0 w 1828800"/>
                <a:gd name="connsiteY4" fmla="*/ 914400 h 914402"/>
                <a:gd name="connsiteX5" fmla="*/ 16368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16368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159728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159728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59728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8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8 w 1828800"/>
                <a:gd name="connsiteY1" fmla="*/ 0 h 914402"/>
                <a:gd name="connsiteX2" fmla="*/ 1828800 w 1828800"/>
                <a:gd name="connsiteY2" fmla="*/ 457200 h 914402"/>
                <a:gd name="connsiteX3" fmla="*/ 169949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8 w 1828800"/>
                <a:gd name="connsiteY1" fmla="*/ 0 h 914402"/>
                <a:gd name="connsiteX2" fmla="*/ 1828800 w 1828800"/>
                <a:gd name="connsiteY2" fmla="*/ 457200 h 914402"/>
                <a:gd name="connsiteX3" fmla="*/ 1699498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8 w 1828800"/>
                <a:gd name="connsiteY1" fmla="*/ 0 h 914402"/>
                <a:gd name="connsiteX2" fmla="*/ 1828800 w 1828800"/>
                <a:gd name="connsiteY2" fmla="*/ 457200 h 914402"/>
                <a:gd name="connsiteX3" fmla="*/ 1699498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8 w 1828800"/>
                <a:gd name="connsiteY1" fmla="*/ 0 h 914402"/>
                <a:gd name="connsiteX2" fmla="*/ 1828800 w 1828800"/>
                <a:gd name="connsiteY2" fmla="*/ 457200 h 914402"/>
                <a:gd name="connsiteX3" fmla="*/ 1699498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8 w 1828800"/>
                <a:gd name="connsiteY1" fmla="*/ 0 h 914402"/>
                <a:gd name="connsiteX2" fmla="*/ 1828800 w 1828800"/>
                <a:gd name="connsiteY2" fmla="*/ 457200 h 914402"/>
                <a:gd name="connsiteX3" fmla="*/ 169949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8 w 1828800"/>
                <a:gd name="connsiteY1" fmla="*/ 0 h 914402"/>
                <a:gd name="connsiteX2" fmla="*/ 1828800 w 1828800"/>
                <a:gd name="connsiteY2" fmla="*/ 457200 h 914402"/>
                <a:gd name="connsiteX3" fmla="*/ 169949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8 w 1828800"/>
                <a:gd name="connsiteY1" fmla="*/ 0 h 914402"/>
                <a:gd name="connsiteX2" fmla="*/ 1828800 w 1828800"/>
                <a:gd name="connsiteY2" fmla="*/ 457200 h 914402"/>
                <a:gd name="connsiteX3" fmla="*/ 169949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8 w 1828800"/>
                <a:gd name="connsiteY1" fmla="*/ 0 h 914402"/>
                <a:gd name="connsiteX2" fmla="*/ 1828800 w 1828800"/>
                <a:gd name="connsiteY2" fmla="*/ 457200 h 914402"/>
                <a:gd name="connsiteX3" fmla="*/ 169949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4349 w 1828800"/>
                <a:gd name="connsiteY1" fmla="*/ 0 h 914402"/>
                <a:gd name="connsiteX2" fmla="*/ 1828800 w 1828800"/>
                <a:gd name="connsiteY2" fmla="*/ 457200 h 914402"/>
                <a:gd name="connsiteX3" fmla="*/ 169949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4349 w 1828800"/>
                <a:gd name="connsiteY1" fmla="*/ 0 h 914402"/>
                <a:gd name="connsiteX2" fmla="*/ 1828800 w 1828800"/>
                <a:gd name="connsiteY2" fmla="*/ 457200 h 914402"/>
                <a:gd name="connsiteX3" fmla="*/ 165434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4349 w 1828800"/>
                <a:gd name="connsiteY1" fmla="*/ 0 h 914402"/>
                <a:gd name="connsiteX2" fmla="*/ 1828800 w 1828800"/>
                <a:gd name="connsiteY2" fmla="*/ 457200 h 914402"/>
                <a:gd name="connsiteX3" fmla="*/ 165434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11169 w 1828800"/>
                <a:gd name="connsiteY1" fmla="*/ 0 h 914402"/>
                <a:gd name="connsiteX2" fmla="*/ 1828800 w 1828800"/>
                <a:gd name="connsiteY2" fmla="*/ 457200 h 914402"/>
                <a:gd name="connsiteX3" fmla="*/ 165434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11169 w 1828800"/>
                <a:gd name="connsiteY1" fmla="*/ 0 h 914402"/>
                <a:gd name="connsiteX2" fmla="*/ 1828800 w 1828800"/>
                <a:gd name="connsiteY2" fmla="*/ 457200 h 914402"/>
                <a:gd name="connsiteX3" fmla="*/ 161116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11169 w 1828800"/>
                <a:gd name="connsiteY1" fmla="*/ 0 h 914402"/>
                <a:gd name="connsiteX2" fmla="*/ 1828800 w 1828800"/>
                <a:gd name="connsiteY2" fmla="*/ 457200 h 914402"/>
                <a:gd name="connsiteX3" fmla="*/ 1611169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11169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197036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197036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197036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135043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135043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135043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93755" y="0"/>
                  </a:lnTo>
                  <a:lnTo>
                    <a:pt x="1828800" y="457200"/>
                  </a:lnTo>
                  <a:lnTo>
                    <a:pt x="1693755" y="914402"/>
                  </a:lnTo>
                  <a:lnTo>
                    <a:pt x="0" y="914400"/>
                  </a:lnTo>
                  <a:lnTo>
                    <a:pt x="0" y="4572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83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TextBox 4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4495897" y="1360125"/>
              <a:ext cx="936749" cy="21550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30" b="1" dirty="0">
                  <a:solidFill>
                    <a:schemeClr val="bg1"/>
                  </a:solidFill>
                </a:rPr>
                <a:t>Identify</a:t>
              </a:r>
            </a:p>
          </p:txBody>
        </p:sp>
      </p:grpSp>
      <p:grpSp>
        <p:nvGrpSpPr>
          <p:cNvPr id="80" name="Group 79"/>
          <p:cNvGrpSpPr/>
          <p:nvPr>
            <p:custDataLst>
              <p:tags r:id="rId5"/>
            </p:custDataLst>
          </p:nvPr>
        </p:nvGrpSpPr>
        <p:grpSpPr>
          <a:xfrm>
            <a:off x="7151311" y="1681705"/>
            <a:ext cx="1411313" cy="660702"/>
            <a:chOff x="5472506" y="1246348"/>
            <a:chExt cx="1080000" cy="443059"/>
          </a:xfrm>
          <a:solidFill>
            <a:schemeClr val="accent4"/>
          </a:solidFill>
        </p:grpSpPr>
        <p:sp>
          <p:nvSpPr>
            <p:cNvPr id="68" name="Freeform 67"/>
            <p:cNvSpPr/>
            <p:nvPr>
              <p:custDataLst>
                <p:tags r:id="rId12"/>
              </p:custDataLst>
            </p:nvPr>
          </p:nvSpPr>
          <p:spPr bwMode="auto">
            <a:xfrm>
              <a:off x="5472506" y="1246348"/>
              <a:ext cx="1080000" cy="44305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2 w 1828800"/>
                <a:gd name="connsiteY1" fmla="*/ 0 h 914402"/>
                <a:gd name="connsiteX2" fmla="*/ 1828800 w 1828800"/>
                <a:gd name="connsiteY2" fmla="*/ 457200 h 914402"/>
                <a:gd name="connsiteX3" fmla="*/ 1662162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2 w 1828800"/>
                <a:gd name="connsiteY1" fmla="*/ 0 h 914402"/>
                <a:gd name="connsiteX2" fmla="*/ 1828800 w 1828800"/>
                <a:gd name="connsiteY2" fmla="*/ 457200 h 914402"/>
                <a:gd name="connsiteX3" fmla="*/ 1662162 w 1828800"/>
                <a:gd name="connsiteY3" fmla="*/ 914402 h 914402"/>
                <a:gd name="connsiteX4" fmla="*/ 0 w 1828800"/>
                <a:gd name="connsiteY4" fmla="*/ 914400 h 914402"/>
                <a:gd name="connsiteX5" fmla="*/ 111484 w 1828800"/>
                <a:gd name="connsiteY5" fmla="*/ 457202 h 914402"/>
                <a:gd name="connsiteX0" fmla="*/ 0 w 1828800"/>
                <a:gd name="connsiteY0" fmla="*/ 0 h 914402"/>
                <a:gd name="connsiteX1" fmla="*/ 1717315 w 1828800"/>
                <a:gd name="connsiteY1" fmla="*/ 0 h 914402"/>
                <a:gd name="connsiteX2" fmla="*/ 1828800 w 1828800"/>
                <a:gd name="connsiteY2" fmla="*/ 457200 h 914402"/>
                <a:gd name="connsiteX3" fmla="*/ 1662162 w 1828800"/>
                <a:gd name="connsiteY3" fmla="*/ 914402 h 914402"/>
                <a:gd name="connsiteX4" fmla="*/ 0 w 1828800"/>
                <a:gd name="connsiteY4" fmla="*/ 914400 h 914402"/>
                <a:gd name="connsiteX5" fmla="*/ 111484 w 1828800"/>
                <a:gd name="connsiteY5" fmla="*/ 457202 h 914402"/>
                <a:gd name="connsiteX0" fmla="*/ 0 w 1828800"/>
                <a:gd name="connsiteY0" fmla="*/ 0 h 914402"/>
                <a:gd name="connsiteX1" fmla="*/ 1717315 w 1828800"/>
                <a:gd name="connsiteY1" fmla="*/ 0 h 914402"/>
                <a:gd name="connsiteX2" fmla="*/ 1828800 w 1828800"/>
                <a:gd name="connsiteY2" fmla="*/ 457200 h 914402"/>
                <a:gd name="connsiteX3" fmla="*/ 1717315 w 1828800"/>
                <a:gd name="connsiteY3" fmla="*/ 914402 h 914402"/>
                <a:gd name="connsiteX4" fmla="*/ 0 w 1828800"/>
                <a:gd name="connsiteY4" fmla="*/ 914400 h 914402"/>
                <a:gd name="connsiteX5" fmla="*/ 111484 w 1828800"/>
                <a:gd name="connsiteY5" fmla="*/ 457202 h 914402"/>
                <a:gd name="connsiteX0" fmla="*/ 0 w 1828800"/>
                <a:gd name="connsiteY0" fmla="*/ 0 h 914402"/>
                <a:gd name="connsiteX1" fmla="*/ 1717315 w 1828800"/>
                <a:gd name="connsiteY1" fmla="*/ 0 h 914402"/>
                <a:gd name="connsiteX2" fmla="*/ 1828800 w 1828800"/>
                <a:gd name="connsiteY2" fmla="*/ 457200 h 914402"/>
                <a:gd name="connsiteX3" fmla="*/ 1717315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717315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200857 w 1828800"/>
                <a:gd name="connsiteY5" fmla="*/ 457203 h 914402"/>
                <a:gd name="connsiteX0" fmla="*/ 0 w 1828800"/>
                <a:gd name="connsiteY0" fmla="*/ 0 h 914402"/>
                <a:gd name="connsiteX1" fmla="*/ 1627945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200857 w 1828800"/>
                <a:gd name="connsiteY5" fmla="*/ 457203 h 914402"/>
                <a:gd name="connsiteX0" fmla="*/ 0 w 1828800"/>
                <a:gd name="connsiteY0" fmla="*/ 0 h 914402"/>
                <a:gd name="connsiteX1" fmla="*/ 1627945 w 1828800"/>
                <a:gd name="connsiteY1" fmla="*/ 0 h 914402"/>
                <a:gd name="connsiteX2" fmla="*/ 1828800 w 1828800"/>
                <a:gd name="connsiteY2" fmla="*/ 457200 h 914402"/>
                <a:gd name="connsiteX3" fmla="*/ 1627945 w 1828800"/>
                <a:gd name="connsiteY3" fmla="*/ 914402 h 914402"/>
                <a:gd name="connsiteX4" fmla="*/ 0 w 1828800"/>
                <a:gd name="connsiteY4" fmla="*/ 914400 h 914402"/>
                <a:gd name="connsiteX5" fmla="*/ 200857 w 1828800"/>
                <a:gd name="connsiteY5" fmla="*/ 457203 h 914402"/>
                <a:gd name="connsiteX0" fmla="*/ 0 w 1828800"/>
                <a:gd name="connsiteY0" fmla="*/ 0 h 914402"/>
                <a:gd name="connsiteX1" fmla="*/ 1627945 w 1828800"/>
                <a:gd name="connsiteY1" fmla="*/ 0 h 914402"/>
                <a:gd name="connsiteX2" fmla="*/ 1828800 w 1828800"/>
                <a:gd name="connsiteY2" fmla="*/ 457200 h 914402"/>
                <a:gd name="connsiteX3" fmla="*/ 1627945 w 1828800"/>
                <a:gd name="connsiteY3" fmla="*/ 914402 h 914402"/>
                <a:gd name="connsiteX4" fmla="*/ 0 w 1828800"/>
                <a:gd name="connsiteY4" fmla="*/ 914400 h 914402"/>
                <a:gd name="connsiteX5" fmla="*/ 172528 w 1828800"/>
                <a:gd name="connsiteY5" fmla="*/ 457203 h 914402"/>
                <a:gd name="connsiteX0" fmla="*/ 0 w 1828800"/>
                <a:gd name="connsiteY0" fmla="*/ 0 h 914402"/>
                <a:gd name="connsiteX1" fmla="*/ 1656272 w 1828800"/>
                <a:gd name="connsiteY1" fmla="*/ 0 h 914402"/>
                <a:gd name="connsiteX2" fmla="*/ 1828800 w 1828800"/>
                <a:gd name="connsiteY2" fmla="*/ 457200 h 914402"/>
                <a:gd name="connsiteX3" fmla="*/ 1627945 w 1828800"/>
                <a:gd name="connsiteY3" fmla="*/ 914402 h 914402"/>
                <a:gd name="connsiteX4" fmla="*/ 0 w 1828800"/>
                <a:gd name="connsiteY4" fmla="*/ 914400 h 914402"/>
                <a:gd name="connsiteX5" fmla="*/ 172528 w 1828800"/>
                <a:gd name="connsiteY5" fmla="*/ 457203 h 914402"/>
                <a:gd name="connsiteX0" fmla="*/ 0 w 1828800"/>
                <a:gd name="connsiteY0" fmla="*/ 0 h 914402"/>
                <a:gd name="connsiteX1" fmla="*/ 1656272 w 1828800"/>
                <a:gd name="connsiteY1" fmla="*/ 0 h 914402"/>
                <a:gd name="connsiteX2" fmla="*/ 1828800 w 1828800"/>
                <a:gd name="connsiteY2" fmla="*/ 457200 h 914402"/>
                <a:gd name="connsiteX3" fmla="*/ 1656272 w 1828800"/>
                <a:gd name="connsiteY3" fmla="*/ 914402 h 914402"/>
                <a:gd name="connsiteX4" fmla="*/ 0 w 1828800"/>
                <a:gd name="connsiteY4" fmla="*/ 914400 h 914402"/>
                <a:gd name="connsiteX5" fmla="*/ 172528 w 1828800"/>
                <a:gd name="connsiteY5" fmla="*/ 457203 h 914402"/>
                <a:gd name="connsiteX0" fmla="*/ 0 w 1828800"/>
                <a:gd name="connsiteY0" fmla="*/ 0 h 914402"/>
                <a:gd name="connsiteX1" fmla="*/ 1656272 w 1828800"/>
                <a:gd name="connsiteY1" fmla="*/ 0 h 914402"/>
                <a:gd name="connsiteX2" fmla="*/ 1828800 w 1828800"/>
                <a:gd name="connsiteY2" fmla="*/ 457200 h 914402"/>
                <a:gd name="connsiteX3" fmla="*/ 16562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562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16368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16368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16368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59728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59728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59728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74452 w 1828800"/>
                <a:gd name="connsiteY5" fmla="*/ 457203 h 914402"/>
                <a:gd name="connsiteX0" fmla="*/ 0 w 1828800"/>
                <a:gd name="connsiteY0" fmla="*/ 0 h 914402"/>
                <a:gd name="connsiteX1" fmla="*/ 1654348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74452 w 1828800"/>
                <a:gd name="connsiteY5" fmla="*/ 457203 h 914402"/>
                <a:gd name="connsiteX0" fmla="*/ 0 w 1828800"/>
                <a:gd name="connsiteY0" fmla="*/ 0 h 914402"/>
                <a:gd name="connsiteX1" fmla="*/ 1654348 w 1828800"/>
                <a:gd name="connsiteY1" fmla="*/ 0 h 914402"/>
                <a:gd name="connsiteX2" fmla="*/ 1828800 w 1828800"/>
                <a:gd name="connsiteY2" fmla="*/ 457200 h 914402"/>
                <a:gd name="connsiteX3" fmla="*/ 1654348 w 1828800"/>
                <a:gd name="connsiteY3" fmla="*/ 914402 h 914402"/>
                <a:gd name="connsiteX4" fmla="*/ 0 w 1828800"/>
                <a:gd name="connsiteY4" fmla="*/ 914400 h 914402"/>
                <a:gd name="connsiteX5" fmla="*/ 174452 w 1828800"/>
                <a:gd name="connsiteY5" fmla="*/ 457203 h 914402"/>
                <a:gd name="connsiteX0" fmla="*/ 0 w 1828800"/>
                <a:gd name="connsiteY0" fmla="*/ 0 h 914402"/>
                <a:gd name="connsiteX1" fmla="*/ 1654348 w 1828800"/>
                <a:gd name="connsiteY1" fmla="*/ 0 h 914402"/>
                <a:gd name="connsiteX2" fmla="*/ 1828800 w 1828800"/>
                <a:gd name="connsiteY2" fmla="*/ 457200 h 914402"/>
                <a:gd name="connsiteX3" fmla="*/ 1654348 w 1828800"/>
                <a:gd name="connsiteY3" fmla="*/ 914402 h 914402"/>
                <a:gd name="connsiteX4" fmla="*/ 0 w 1828800"/>
                <a:gd name="connsiteY4" fmla="*/ 914400 h 914402"/>
                <a:gd name="connsiteX5" fmla="*/ 217631 w 1828800"/>
                <a:gd name="connsiteY5" fmla="*/ 457203 h 914402"/>
                <a:gd name="connsiteX0" fmla="*/ 0 w 1828800"/>
                <a:gd name="connsiteY0" fmla="*/ 0 h 914402"/>
                <a:gd name="connsiteX1" fmla="*/ 1611167 w 1828800"/>
                <a:gd name="connsiteY1" fmla="*/ 0 h 914402"/>
                <a:gd name="connsiteX2" fmla="*/ 1828800 w 1828800"/>
                <a:gd name="connsiteY2" fmla="*/ 457200 h 914402"/>
                <a:gd name="connsiteX3" fmla="*/ 1654348 w 1828800"/>
                <a:gd name="connsiteY3" fmla="*/ 914402 h 914402"/>
                <a:gd name="connsiteX4" fmla="*/ 0 w 1828800"/>
                <a:gd name="connsiteY4" fmla="*/ 914400 h 914402"/>
                <a:gd name="connsiteX5" fmla="*/ 217631 w 1828800"/>
                <a:gd name="connsiteY5" fmla="*/ 457203 h 914402"/>
                <a:gd name="connsiteX0" fmla="*/ 0 w 1828800"/>
                <a:gd name="connsiteY0" fmla="*/ 0 h 914402"/>
                <a:gd name="connsiteX1" fmla="*/ 1611167 w 1828800"/>
                <a:gd name="connsiteY1" fmla="*/ 0 h 914402"/>
                <a:gd name="connsiteX2" fmla="*/ 1828800 w 1828800"/>
                <a:gd name="connsiteY2" fmla="*/ 457200 h 914402"/>
                <a:gd name="connsiteX3" fmla="*/ 1611167 w 1828800"/>
                <a:gd name="connsiteY3" fmla="*/ 914402 h 914402"/>
                <a:gd name="connsiteX4" fmla="*/ 0 w 1828800"/>
                <a:gd name="connsiteY4" fmla="*/ 914400 h 914402"/>
                <a:gd name="connsiteX5" fmla="*/ 217631 w 1828800"/>
                <a:gd name="connsiteY5" fmla="*/ 457203 h 914402"/>
                <a:gd name="connsiteX0" fmla="*/ 0 w 1828800"/>
                <a:gd name="connsiteY0" fmla="*/ 0 h 914402"/>
                <a:gd name="connsiteX1" fmla="*/ 1611167 w 1828800"/>
                <a:gd name="connsiteY1" fmla="*/ 0 h 914402"/>
                <a:gd name="connsiteX2" fmla="*/ 1828800 w 1828800"/>
                <a:gd name="connsiteY2" fmla="*/ 457200 h 914402"/>
                <a:gd name="connsiteX3" fmla="*/ 161116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1116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197036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197036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197036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131318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131318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131318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135043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135043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135043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93755" y="0"/>
                  </a:lnTo>
                  <a:lnTo>
                    <a:pt x="1828800" y="457200"/>
                  </a:lnTo>
                  <a:lnTo>
                    <a:pt x="1693755" y="914402"/>
                  </a:lnTo>
                  <a:lnTo>
                    <a:pt x="0" y="914400"/>
                  </a:lnTo>
                  <a:lnTo>
                    <a:pt x="135043" y="4572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83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TextBox 4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5603056" y="1360125"/>
              <a:ext cx="869699" cy="21550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30" b="1" dirty="0">
                  <a:solidFill>
                    <a:schemeClr val="bg1"/>
                  </a:solidFill>
                </a:rPr>
                <a:t>Source</a:t>
              </a:r>
            </a:p>
          </p:txBody>
        </p:sp>
      </p:grpSp>
      <p:grpSp>
        <p:nvGrpSpPr>
          <p:cNvPr id="81" name="Group 80"/>
          <p:cNvGrpSpPr/>
          <p:nvPr>
            <p:custDataLst>
              <p:tags r:id="rId6"/>
            </p:custDataLst>
          </p:nvPr>
        </p:nvGrpSpPr>
        <p:grpSpPr>
          <a:xfrm>
            <a:off x="8510495" y="1681705"/>
            <a:ext cx="1411313" cy="660702"/>
            <a:chOff x="6512615" y="1246348"/>
            <a:chExt cx="1080000" cy="443059"/>
          </a:xfrm>
          <a:solidFill>
            <a:schemeClr val="accent4"/>
          </a:solidFill>
        </p:grpSpPr>
        <p:sp>
          <p:nvSpPr>
            <p:cNvPr id="72" name="Freeform 71"/>
            <p:cNvSpPr/>
            <p:nvPr>
              <p:custDataLst>
                <p:tags r:id="rId10"/>
              </p:custDataLst>
            </p:nvPr>
          </p:nvSpPr>
          <p:spPr bwMode="auto">
            <a:xfrm>
              <a:off x="6512615" y="1246348"/>
              <a:ext cx="1080000" cy="44305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2 w 1828800"/>
                <a:gd name="connsiteY1" fmla="*/ 0 h 914402"/>
                <a:gd name="connsiteX2" fmla="*/ 1828800 w 1828800"/>
                <a:gd name="connsiteY2" fmla="*/ 457200 h 914402"/>
                <a:gd name="connsiteX3" fmla="*/ 1662162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2 w 1828800"/>
                <a:gd name="connsiteY1" fmla="*/ 0 h 914402"/>
                <a:gd name="connsiteX2" fmla="*/ 1828800 w 1828800"/>
                <a:gd name="connsiteY2" fmla="*/ 457200 h 914402"/>
                <a:gd name="connsiteX3" fmla="*/ 1662162 w 1828800"/>
                <a:gd name="connsiteY3" fmla="*/ 914402 h 914402"/>
                <a:gd name="connsiteX4" fmla="*/ 0 w 1828800"/>
                <a:gd name="connsiteY4" fmla="*/ 914400 h 914402"/>
                <a:gd name="connsiteX5" fmla="*/ 111484 w 1828800"/>
                <a:gd name="connsiteY5" fmla="*/ 457202 h 914402"/>
                <a:gd name="connsiteX0" fmla="*/ 0 w 1828800"/>
                <a:gd name="connsiteY0" fmla="*/ 0 h 914402"/>
                <a:gd name="connsiteX1" fmla="*/ 1717316 w 1828800"/>
                <a:gd name="connsiteY1" fmla="*/ 0 h 914402"/>
                <a:gd name="connsiteX2" fmla="*/ 1828800 w 1828800"/>
                <a:gd name="connsiteY2" fmla="*/ 457200 h 914402"/>
                <a:gd name="connsiteX3" fmla="*/ 1662162 w 1828800"/>
                <a:gd name="connsiteY3" fmla="*/ 914402 h 914402"/>
                <a:gd name="connsiteX4" fmla="*/ 0 w 1828800"/>
                <a:gd name="connsiteY4" fmla="*/ 914400 h 914402"/>
                <a:gd name="connsiteX5" fmla="*/ 111484 w 1828800"/>
                <a:gd name="connsiteY5" fmla="*/ 457202 h 914402"/>
                <a:gd name="connsiteX0" fmla="*/ 0 w 1828800"/>
                <a:gd name="connsiteY0" fmla="*/ 0 h 914402"/>
                <a:gd name="connsiteX1" fmla="*/ 1717316 w 1828800"/>
                <a:gd name="connsiteY1" fmla="*/ 0 h 914402"/>
                <a:gd name="connsiteX2" fmla="*/ 1828800 w 1828800"/>
                <a:gd name="connsiteY2" fmla="*/ 457200 h 914402"/>
                <a:gd name="connsiteX3" fmla="*/ 1717316 w 1828800"/>
                <a:gd name="connsiteY3" fmla="*/ 914402 h 914402"/>
                <a:gd name="connsiteX4" fmla="*/ 0 w 1828800"/>
                <a:gd name="connsiteY4" fmla="*/ 914400 h 914402"/>
                <a:gd name="connsiteX5" fmla="*/ 111484 w 1828800"/>
                <a:gd name="connsiteY5" fmla="*/ 457202 h 914402"/>
                <a:gd name="connsiteX0" fmla="*/ 0 w 1828800"/>
                <a:gd name="connsiteY0" fmla="*/ 0 h 914402"/>
                <a:gd name="connsiteX1" fmla="*/ 1717316 w 1828800"/>
                <a:gd name="connsiteY1" fmla="*/ 0 h 914402"/>
                <a:gd name="connsiteX2" fmla="*/ 1828800 w 1828800"/>
                <a:gd name="connsiteY2" fmla="*/ 457200 h 914402"/>
                <a:gd name="connsiteX3" fmla="*/ 1717316 w 1828800"/>
                <a:gd name="connsiteY3" fmla="*/ 914402 h 914402"/>
                <a:gd name="connsiteX4" fmla="*/ 0 w 1828800"/>
                <a:gd name="connsiteY4" fmla="*/ 914400 h 914402"/>
                <a:gd name="connsiteX5" fmla="*/ 222349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717316 w 1828800"/>
                <a:gd name="connsiteY3" fmla="*/ 914402 h 914402"/>
                <a:gd name="connsiteX4" fmla="*/ 0 w 1828800"/>
                <a:gd name="connsiteY4" fmla="*/ 914400 h 914402"/>
                <a:gd name="connsiteX5" fmla="*/ 222349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9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9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9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9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153444 w 1828800"/>
                <a:gd name="connsiteY5" fmla="*/ 457203 h 914402"/>
                <a:gd name="connsiteX0" fmla="*/ 0 w 1828800"/>
                <a:gd name="connsiteY0" fmla="*/ 0 h 914402"/>
                <a:gd name="connsiteX1" fmla="*/ 1675355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153444 w 1828800"/>
                <a:gd name="connsiteY5" fmla="*/ 457203 h 914402"/>
                <a:gd name="connsiteX0" fmla="*/ 0 w 1828800"/>
                <a:gd name="connsiteY0" fmla="*/ 0 h 914402"/>
                <a:gd name="connsiteX1" fmla="*/ 1675355 w 1828800"/>
                <a:gd name="connsiteY1" fmla="*/ 0 h 914402"/>
                <a:gd name="connsiteX2" fmla="*/ 1828800 w 1828800"/>
                <a:gd name="connsiteY2" fmla="*/ 457200 h 914402"/>
                <a:gd name="connsiteX3" fmla="*/ 1675355 w 1828800"/>
                <a:gd name="connsiteY3" fmla="*/ 914402 h 914402"/>
                <a:gd name="connsiteX4" fmla="*/ 0 w 1828800"/>
                <a:gd name="connsiteY4" fmla="*/ 914400 h 914402"/>
                <a:gd name="connsiteX5" fmla="*/ 153444 w 1828800"/>
                <a:gd name="connsiteY5" fmla="*/ 457203 h 914402"/>
                <a:gd name="connsiteX0" fmla="*/ 0 w 1828800"/>
                <a:gd name="connsiteY0" fmla="*/ 0 h 914402"/>
                <a:gd name="connsiteX1" fmla="*/ 1675355 w 1828800"/>
                <a:gd name="connsiteY1" fmla="*/ 0 h 914402"/>
                <a:gd name="connsiteX2" fmla="*/ 1828800 w 1828800"/>
                <a:gd name="connsiteY2" fmla="*/ 457200 h 914402"/>
                <a:gd name="connsiteX3" fmla="*/ 167535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75355 w 1828800"/>
                <a:gd name="connsiteY1" fmla="*/ 0 h 914402"/>
                <a:gd name="connsiteX2" fmla="*/ 1828800 w 1828800"/>
                <a:gd name="connsiteY2" fmla="*/ 457200 h 914402"/>
                <a:gd name="connsiteX3" fmla="*/ 167535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75355 w 1828800"/>
                <a:gd name="connsiteY1" fmla="*/ 0 h 914402"/>
                <a:gd name="connsiteX2" fmla="*/ 1828800 w 1828800"/>
                <a:gd name="connsiteY2" fmla="*/ 457200 h 914402"/>
                <a:gd name="connsiteX3" fmla="*/ 167535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75355 w 1828800"/>
                <a:gd name="connsiteY1" fmla="*/ 0 h 914402"/>
                <a:gd name="connsiteX2" fmla="*/ 1828800 w 1828800"/>
                <a:gd name="connsiteY2" fmla="*/ 457200 h 914402"/>
                <a:gd name="connsiteX3" fmla="*/ 1675355 w 1828800"/>
                <a:gd name="connsiteY3" fmla="*/ 914402 h 914402"/>
                <a:gd name="connsiteX4" fmla="*/ 0 w 1828800"/>
                <a:gd name="connsiteY4" fmla="*/ 914400 h 914402"/>
                <a:gd name="connsiteX5" fmla="*/ 153444 w 1828800"/>
                <a:gd name="connsiteY5" fmla="*/ 457203 h 914402"/>
                <a:gd name="connsiteX0" fmla="*/ 0 w 1828800"/>
                <a:gd name="connsiteY0" fmla="*/ 0 h 914402"/>
                <a:gd name="connsiteX1" fmla="*/ 1675355 w 1828800"/>
                <a:gd name="connsiteY1" fmla="*/ 0 h 914402"/>
                <a:gd name="connsiteX2" fmla="*/ 1828800 w 1828800"/>
                <a:gd name="connsiteY2" fmla="*/ 457200 h 914402"/>
                <a:gd name="connsiteX3" fmla="*/ 1675355 w 1828800"/>
                <a:gd name="connsiteY3" fmla="*/ 914402 h 914402"/>
                <a:gd name="connsiteX4" fmla="*/ 0 w 1828800"/>
                <a:gd name="connsiteY4" fmla="*/ 914400 h 914402"/>
                <a:gd name="connsiteX5" fmla="*/ 153444 w 1828800"/>
                <a:gd name="connsiteY5" fmla="*/ 457203 h 914402"/>
                <a:gd name="connsiteX0" fmla="*/ 0 w 1828800"/>
                <a:gd name="connsiteY0" fmla="*/ 0 h 914402"/>
                <a:gd name="connsiteX1" fmla="*/ 1675355 w 1828800"/>
                <a:gd name="connsiteY1" fmla="*/ 0 h 914402"/>
                <a:gd name="connsiteX2" fmla="*/ 1828800 w 1828800"/>
                <a:gd name="connsiteY2" fmla="*/ 457200 h 914402"/>
                <a:gd name="connsiteX3" fmla="*/ 1675355 w 1828800"/>
                <a:gd name="connsiteY3" fmla="*/ 914402 h 914402"/>
                <a:gd name="connsiteX4" fmla="*/ 0 w 1828800"/>
                <a:gd name="connsiteY4" fmla="*/ 914400 h 914402"/>
                <a:gd name="connsiteX5" fmla="*/ 153444 w 1828800"/>
                <a:gd name="connsiteY5" fmla="*/ 457203 h 914402"/>
                <a:gd name="connsiteX0" fmla="*/ 0 w 1828800"/>
                <a:gd name="connsiteY0" fmla="*/ 0 h 914402"/>
                <a:gd name="connsiteX1" fmla="*/ 1675355 w 1828800"/>
                <a:gd name="connsiteY1" fmla="*/ 0 h 914402"/>
                <a:gd name="connsiteX2" fmla="*/ 1828800 w 1828800"/>
                <a:gd name="connsiteY2" fmla="*/ 457200 h 914402"/>
                <a:gd name="connsiteX3" fmla="*/ 1675355 w 1828800"/>
                <a:gd name="connsiteY3" fmla="*/ 914402 h 914402"/>
                <a:gd name="connsiteX4" fmla="*/ 0 w 1828800"/>
                <a:gd name="connsiteY4" fmla="*/ 914400 h 914402"/>
                <a:gd name="connsiteX5" fmla="*/ 181327 w 1828800"/>
                <a:gd name="connsiteY5" fmla="*/ 457203 h 914402"/>
                <a:gd name="connsiteX0" fmla="*/ 0 w 1828800"/>
                <a:gd name="connsiteY0" fmla="*/ 0 h 914402"/>
                <a:gd name="connsiteX1" fmla="*/ 1647471 w 1828800"/>
                <a:gd name="connsiteY1" fmla="*/ 0 h 914402"/>
                <a:gd name="connsiteX2" fmla="*/ 1828800 w 1828800"/>
                <a:gd name="connsiteY2" fmla="*/ 457200 h 914402"/>
                <a:gd name="connsiteX3" fmla="*/ 1675355 w 1828800"/>
                <a:gd name="connsiteY3" fmla="*/ 914402 h 914402"/>
                <a:gd name="connsiteX4" fmla="*/ 0 w 1828800"/>
                <a:gd name="connsiteY4" fmla="*/ 914400 h 914402"/>
                <a:gd name="connsiteX5" fmla="*/ 181327 w 1828800"/>
                <a:gd name="connsiteY5" fmla="*/ 457203 h 914402"/>
                <a:gd name="connsiteX0" fmla="*/ 0 w 1828800"/>
                <a:gd name="connsiteY0" fmla="*/ 0 h 914402"/>
                <a:gd name="connsiteX1" fmla="*/ 1647471 w 1828800"/>
                <a:gd name="connsiteY1" fmla="*/ 0 h 914402"/>
                <a:gd name="connsiteX2" fmla="*/ 1828800 w 1828800"/>
                <a:gd name="connsiteY2" fmla="*/ 457200 h 914402"/>
                <a:gd name="connsiteX3" fmla="*/ 1647471 w 1828800"/>
                <a:gd name="connsiteY3" fmla="*/ 914402 h 914402"/>
                <a:gd name="connsiteX4" fmla="*/ 0 w 1828800"/>
                <a:gd name="connsiteY4" fmla="*/ 914400 h 914402"/>
                <a:gd name="connsiteX5" fmla="*/ 181327 w 1828800"/>
                <a:gd name="connsiteY5" fmla="*/ 457203 h 914402"/>
                <a:gd name="connsiteX0" fmla="*/ 0 w 1828800"/>
                <a:gd name="connsiteY0" fmla="*/ 0 h 914402"/>
                <a:gd name="connsiteX1" fmla="*/ 1647471 w 1828800"/>
                <a:gd name="connsiteY1" fmla="*/ 0 h 914402"/>
                <a:gd name="connsiteX2" fmla="*/ 1828800 w 1828800"/>
                <a:gd name="connsiteY2" fmla="*/ 457200 h 914402"/>
                <a:gd name="connsiteX3" fmla="*/ 1647471 w 1828800"/>
                <a:gd name="connsiteY3" fmla="*/ 914402 h 914402"/>
                <a:gd name="connsiteX4" fmla="*/ 0 w 1828800"/>
                <a:gd name="connsiteY4" fmla="*/ 914400 h 914402"/>
                <a:gd name="connsiteX5" fmla="*/ 155754 w 1828800"/>
                <a:gd name="connsiteY5" fmla="*/ 457203 h 914402"/>
                <a:gd name="connsiteX0" fmla="*/ 0 w 1828800"/>
                <a:gd name="connsiteY0" fmla="*/ 0 h 914402"/>
                <a:gd name="connsiteX1" fmla="*/ 1673046 w 1828800"/>
                <a:gd name="connsiteY1" fmla="*/ 0 h 914402"/>
                <a:gd name="connsiteX2" fmla="*/ 1828800 w 1828800"/>
                <a:gd name="connsiteY2" fmla="*/ 457200 h 914402"/>
                <a:gd name="connsiteX3" fmla="*/ 1647471 w 1828800"/>
                <a:gd name="connsiteY3" fmla="*/ 914402 h 914402"/>
                <a:gd name="connsiteX4" fmla="*/ 0 w 1828800"/>
                <a:gd name="connsiteY4" fmla="*/ 914400 h 914402"/>
                <a:gd name="connsiteX5" fmla="*/ 155754 w 1828800"/>
                <a:gd name="connsiteY5" fmla="*/ 457203 h 914402"/>
                <a:gd name="connsiteX0" fmla="*/ 0 w 1828800"/>
                <a:gd name="connsiteY0" fmla="*/ 0 h 914402"/>
                <a:gd name="connsiteX1" fmla="*/ 1673046 w 1828800"/>
                <a:gd name="connsiteY1" fmla="*/ 0 h 914402"/>
                <a:gd name="connsiteX2" fmla="*/ 1828800 w 1828800"/>
                <a:gd name="connsiteY2" fmla="*/ 457200 h 914402"/>
                <a:gd name="connsiteX3" fmla="*/ 1673046 w 1828800"/>
                <a:gd name="connsiteY3" fmla="*/ 914402 h 914402"/>
                <a:gd name="connsiteX4" fmla="*/ 0 w 1828800"/>
                <a:gd name="connsiteY4" fmla="*/ 914400 h 914402"/>
                <a:gd name="connsiteX5" fmla="*/ 155754 w 1828800"/>
                <a:gd name="connsiteY5" fmla="*/ 457203 h 914402"/>
                <a:gd name="connsiteX0" fmla="*/ 0 w 1828800"/>
                <a:gd name="connsiteY0" fmla="*/ 0 h 914402"/>
                <a:gd name="connsiteX1" fmla="*/ 1673046 w 1828800"/>
                <a:gd name="connsiteY1" fmla="*/ 0 h 914402"/>
                <a:gd name="connsiteX2" fmla="*/ 1828800 w 1828800"/>
                <a:gd name="connsiteY2" fmla="*/ 457200 h 914402"/>
                <a:gd name="connsiteX3" fmla="*/ 167304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81033 w 1828800"/>
                <a:gd name="connsiteY1" fmla="*/ 0 h 914402"/>
                <a:gd name="connsiteX2" fmla="*/ 1828800 w 1828800"/>
                <a:gd name="connsiteY2" fmla="*/ 457200 h 914402"/>
                <a:gd name="connsiteX3" fmla="*/ 167304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81033 w 1828800"/>
                <a:gd name="connsiteY1" fmla="*/ 0 h 914402"/>
                <a:gd name="connsiteX2" fmla="*/ 1828800 w 1828800"/>
                <a:gd name="connsiteY2" fmla="*/ 457200 h 914402"/>
                <a:gd name="connsiteX3" fmla="*/ 1681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81033 w 1828800"/>
                <a:gd name="connsiteY1" fmla="*/ 0 h 914402"/>
                <a:gd name="connsiteX2" fmla="*/ 1828800 w 1828800"/>
                <a:gd name="connsiteY2" fmla="*/ 457200 h 914402"/>
                <a:gd name="connsiteX3" fmla="*/ 1681033 w 1828800"/>
                <a:gd name="connsiteY3" fmla="*/ 914402 h 914402"/>
                <a:gd name="connsiteX4" fmla="*/ 0 w 1828800"/>
                <a:gd name="connsiteY4" fmla="*/ 914400 h 914402"/>
                <a:gd name="connsiteX5" fmla="*/ 147767 w 1828800"/>
                <a:gd name="connsiteY5" fmla="*/ 457204 h 914402"/>
                <a:gd name="connsiteX0" fmla="*/ 0 w 1828800"/>
                <a:gd name="connsiteY0" fmla="*/ 0 h 914402"/>
                <a:gd name="connsiteX1" fmla="*/ 1681033 w 1828800"/>
                <a:gd name="connsiteY1" fmla="*/ 0 h 914402"/>
                <a:gd name="connsiteX2" fmla="*/ 1828800 w 1828800"/>
                <a:gd name="connsiteY2" fmla="*/ 457200 h 914402"/>
                <a:gd name="connsiteX3" fmla="*/ 1681033 w 1828800"/>
                <a:gd name="connsiteY3" fmla="*/ 914402 h 914402"/>
                <a:gd name="connsiteX4" fmla="*/ 0 w 1828800"/>
                <a:gd name="connsiteY4" fmla="*/ 914400 h 914402"/>
                <a:gd name="connsiteX5" fmla="*/ 147767 w 1828800"/>
                <a:gd name="connsiteY5" fmla="*/ 457204 h 914402"/>
                <a:gd name="connsiteX0" fmla="*/ 0 w 1828800"/>
                <a:gd name="connsiteY0" fmla="*/ 0 h 914402"/>
                <a:gd name="connsiteX1" fmla="*/ 1681033 w 1828800"/>
                <a:gd name="connsiteY1" fmla="*/ 0 h 914402"/>
                <a:gd name="connsiteX2" fmla="*/ 1828800 w 1828800"/>
                <a:gd name="connsiteY2" fmla="*/ 457200 h 914402"/>
                <a:gd name="connsiteX3" fmla="*/ 1681033 w 1828800"/>
                <a:gd name="connsiteY3" fmla="*/ 914402 h 914402"/>
                <a:gd name="connsiteX4" fmla="*/ 0 w 1828800"/>
                <a:gd name="connsiteY4" fmla="*/ 914400 h 914402"/>
                <a:gd name="connsiteX5" fmla="*/ 147767 w 1828800"/>
                <a:gd name="connsiteY5" fmla="*/ 457204 h 914402"/>
                <a:gd name="connsiteX0" fmla="*/ 0 w 1828800"/>
                <a:gd name="connsiteY0" fmla="*/ 0 h 914402"/>
                <a:gd name="connsiteX1" fmla="*/ 1681033 w 1828800"/>
                <a:gd name="connsiteY1" fmla="*/ 0 h 914402"/>
                <a:gd name="connsiteX2" fmla="*/ 1828800 w 1828800"/>
                <a:gd name="connsiteY2" fmla="*/ 457200 h 914402"/>
                <a:gd name="connsiteX3" fmla="*/ 1681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84601 w 1828800"/>
                <a:gd name="connsiteY1" fmla="*/ 0 h 914402"/>
                <a:gd name="connsiteX2" fmla="*/ 1828800 w 1828800"/>
                <a:gd name="connsiteY2" fmla="*/ 457200 h 914402"/>
                <a:gd name="connsiteX3" fmla="*/ 1681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84601 w 1828800"/>
                <a:gd name="connsiteY1" fmla="*/ 0 h 914402"/>
                <a:gd name="connsiteX2" fmla="*/ 1828800 w 1828800"/>
                <a:gd name="connsiteY2" fmla="*/ 457200 h 914402"/>
                <a:gd name="connsiteX3" fmla="*/ 16846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84601 w 1828800"/>
                <a:gd name="connsiteY1" fmla="*/ 0 h 914402"/>
                <a:gd name="connsiteX2" fmla="*/ 1828800 w 1828800"/>
                <a:gd name="connsiteY2" fmla="*/ 457200 h 914402"/>
                <a:gd name="connsiteX3" fmla="*/ 1684601 w 1828800"/>
                <a:gd name="connsiteY3" fmla="*/ 914402 h 914402"/>
                <a:gd name="connsiteX4" fmla="*/ 0 w 1828800"/>
                <a:gd name="connsiteY4" fmla="*/ 914400 h 914402"/>
                <a:gd name="connsiteX5" fmla="*/ 144199 w 1828800"/>
                <a:gd name="connsiteY5" fmla="*/ 457204 h 914402"/>
                <a:gd name="connsiteX0" fmla="*/ 0 w 1828800"/>
                <a:gd name="connsiteY0" fmla="*/ 0 h 914402"/>
                <a:gd name="connsiteX1" fmla="*/ 1684601 w 1828800"/>
                <a:gd name="connsiteY1" fmla="*/ 0 h 914402"/>
                <a:gd name="connsiteX2" fmla="*/ 1828800 w 1828800"/>
                <a:gd name="connsiteY2" fmla="*/ 457200 h 914402"/>
                <a:gd name="connsiteX3" fmla="*/ 1684601 w 1828800"/>
                <a:gd name="connsiteY3" fmla="*/ 914402 h 914402"/>
                <a:gd name="connsiteX4" fmla="*/ 0 w 1828800"/>
                <a:gd name="connsiteY4" fmla="*/ 914400 h 914402"/>
                <a:gd name="connsiteX5" fmla="*/ 144199 w 1828800"/>
                <a:gd name="connsiteY5" fmla="*/ 457204 h 914402"/>
                <a:gd name="connsiteX0" fmla="*/ 0 w 1828800"/>
                <a:gd name="connsiteY0" fmla="*/ 0 h 914402"/>
                <a:gd name="connsiteX1" fmla="*/ 1684601 w 1828800"/>
                <a:gd name="connsiteY1" fmla="*/ 0 h 914402"/>
                <a:gd name="connsiteX2" fmla="*/ 1828800 w 1828800"/>
                <a:gd name="connsiteY2" fmla="*/ 457200 h 914402"/>
                <a:gd name="connsiteX3" fmla="*/ 1684601 w 1828800"/>
                <a:gd name="connsiteY3" fmla="*/ 914402 h 914402"/>
                <a:gd name="connsiteX4" fmla="*/ 0 w 1828800"/>
                <a:gd name="connsiteY4" fmla="*/ 914400 h 914402"/>
                <a:gd name="connsiteX5" fmla="*/ 144199 w 1828800"/>
                <a:gd name="connsiteY5" fmla="*/ 457204 h 914402"/>
                <a:gd name="connsiteX0" fmla="*/ 0 w 1828800"/>
                <a:gd name="connsiteY0" fmla="*/ 0 h 914402"/>
                <a:gd name="connsiteX1" fmla="*/ 1684601 w 1828800"/>
                <a:gd name="connsiteY1" fmla="*/ 0 h 914402"/>
                <a:gd name="connsiteX2" fmla="*/ 1828800 w 1828800"/>
                <a:gd name="connsiteY2" fmla="*/ 457200 h 914402"/>
                <a:gd name="connsiteX3" fmla="*/ 1684601 w 1828800"/>
                <a:gd name="connsiteY3" fmla="*/ 914402 h 914402"/>
                <a:gd name="connsiteX4" fmla="*/ 0 w 1828800"/>
                <a:gd name="connsiteY4" fmla="*/ 914400 h 914402"/>
                <a:gd name="connsiteX5" fmla="*/ 116732 w 1828800"/>
                <a:gd name="connsiteY5" fmla="*/ 457204 h 914402"/>
                <a:gd name="connsiteX0" fmla="*/ 0 w 1828800"/>
                <a:gd name="connsiteY0" fmla="*/ 0 h 914402"/>
                <a:gd name="connsiteX1" fmla="*/ 1712068 w 1828800"/>
                <a:gd name="connsiteY1" fmla="*/ 0 h 914402"/>
                <a:gd name="connsiteX2" fmla="*/ 1828800 w 1828800"/>
                <a:gd name="connsiteY2" fmla="*/ 457200 h 914402"/>
                <a:gd name="connsiteX3" fmla="*/ 1684601 w 1828800"/>
                <a:gd name="connsiteY3" fmla="*/ 914402 h 914402"/>
                <a:gd name="connsiteX4" fmla="*/ 0 w 1828800"/>
                <a:gd name="connsiteY4" fmla="*/ 914400 h 914402"/>
                <a:gd name="connsiteX5" fmla="*/ 116732 w 1828800"/>
                <a:gd name="connsiteY5" fmla="*/ 457204 h 914402"/>
                <a:gd name="connsiteX0" fmla="*/ 0 w 1828800"/>
                <a:gd name="connsiteY0" fmla="*/ 0 h 914402"/>
                <a:gd name="connsiteX1" fmla="*/ 1712068 w 1828800"/>
                <a:gd name="connsiteY1" fmla="*/ 0 h 914402"/>
                <a:gd name="connsiteX2" fmla="*/ 1828800 w 1828800"/>
                <a:gd name="connsiteY2" fmla="*/ 457200 h 914402"/>
                <a:gd name="connsiteX3" fmla="*/ 1712068 w 1828800"/>
                <a:gd name="connsiteY3" fmla="*/ 914402 h 914402"/>
                <a:gd name="connsiteX4" fmla="*/ 0 w 1828800"/>
                <a:gd name="connsiteY4" fmla="*/ 914400 h 914402"/>
                <a:gd name="connsiteX5" fmla="*/ 116732 w 1828800"/>
                <a:gd name="connsiteY5" fmla="*/ 457204 h 914402"/>
                <a:gd name="connsiteX0" fmla="*/ 0 w 1828800"/>
                <a:gd name="connsiteY0" fmla="*/ 0 h 914402"/>
                <a:gd name="connsiteX1" fmla="*/ 1712068 w 1828800"/>
                <a:gd name="connsiteY1" fmla="*/ 0 h 914402"/>
                <a:gd name="connsiteX2" fmla="*/ 1828800 w 1828800"/>
                <a:gd name="connsiteY2" fmla="*/ 457200 h 914402"/>
                <a:gd name="connsiteX3" fmla="*/ 17120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12068 w 1828800"/>
                <a:gd name="connsiteY1" fmla="*/ 0 h 914402"/>
                <a:gd name="connsiteX2" fmla="*/ 1828800 w 1828800"/>
                <a:gd name="connsiteY2" fmla="*/ 457200 h 914402"/>
                <a:gd name="connsiteX3" fmla="*/ 17120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12068 w 1828800"/>
                <a:gd name="connsiteY1" fmla="*/ 0 h 914402"/>
                <a:gd name="connsiteX2" fmla="*/ 1828800 w 1828800"/>
                <a:gd name="connsiteY2" fmla="*/ 457200 h 914402"/>
                <a:gd name="connsiteX3" fmla="*/ 17120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12068 w 1828800"/>
                <a:gd name="connsiteY1" fmla="*/ 0 h 914402"/>
                <a:gd name="connsiteX2" fmla="*/ 1828800 w 1828800"/>
                <a:gd name="connsiteY2" fmla="*/ 457200 h 914402"/>
                <a:gd name="connsiteX3" fmla="*/ 1712068 w 1828800"/>
                <a:gd name="connsiteY3" fmla="*/ 914402 h 914402"/>
                <a:gd name="connsiteX4" fmla="*/ 0 w 1828800"/>
                <a:gd name="connsiteY4" fmla="*/ 914400 h 914402"/>
                <a:gd name="connsiteX5" fmla="*/ 116732 w 1828800"/>
                <a:gd name="connsiteY5" fmla="*/ 457204 h 914402"/>
                <a:gd name="connsiteX0" fmla="*/ 0 w 1828800"/>
                <a:gd name="connsiteY0" fmla="*/ 0 h 914402"/>
                <a:gd name="connsiteX1" fmla="*/ 1712068 w 1828800"/>
                <a:gd name="connsiteY1" fmla="*/ 0 h 914402"/>
                <a:gd name="connsiteX2" fmla="*/ 1828800 w 1828800"/>
                <a:gd name="connsiteY2" fmla="*/ 457200 h 914402"/>
                <a:gd name="connsiteX3" fmla="*/ 1712068 w 1828800"/>
                <a:gd name="connsiteY3" fmla="*/ 914402 h 914402"/>
                <a:gd name="connsiteX4" fmla="*/ 0 w 1828800"/>
                <a:gd name="connsiteY4" fmla="*/ 914400 h 914402"/>
                <a:gd name="connsiteX5" fmla="*/ 116732 w 1828800"/>
                <a:gd name="connsiteY5" fmla="*/ 457204 h 914402"/>
                <a:gd name="connsiteX0" fmla="*/ 0 w 1828800"/>
                <a:gd name="connsiteY0" fmla="*/ 0 h 914402"/>
                <a:gd name="connsiteX1" fmla="*/ 1712068 w 1828800"/>
                <a:gd name="connsiteY1" fmla="*/ 0 h 914402"/>
                <a:gd name="connsiteX2" fmla="*/ 1828800 w 1828800"/>
                <a:gd name="connsiteY2" fmla="*/ 457200 h 914402"/>
                <a:gd name="connsiteX3" fmla="*/ 1712068 w 1828800"/>
                <a:gd name="connsiteY3" fmla="*/ 914402 h 914402"/>
                <a:gd name="connsiteX4" fmla="*/ 0 w 1828800"/>
                <a:gd name="connsiteY4" fmla="*/ 914400 h 914402"/>
                <a:gd name="connsiteX5" fmla="*/ 116732 w 1828800"/>
                <a:gd name="connsiteY5" fmla="*/ 457204 h 914402"/>
                <a:gd name="connsiteX0" fmla="*/ 0 w 1828800"/>
                <a:gd name="connsiteY0" fmla="*/ 0 h 914402"/>
                <a:gd name="connsiteX1" fmla="*/ 1712068 w 1828800"/>
                <a:gd name="connsiteY1" fmla="*/ 0 h 914402"/>
                <a:gd name="connsiteX2" fmla="*/ 1828800 w 1828800"/>
                <a:gd name="connsiteY2" fmla="*/ 457200 h 914402"/>
                <a:gd name="connsiteX3" fmla="*/ 1712068 w 1828800"/>
                <a:gd name="connsiteY3" fmla="*/ 914402 h 914402"/>
                <a:gd name="connsiteX4" fmla="*/ 0 w 1828800"/>
                <a:gd name="connsiteY4" fmla="*/ 914400 h 914402"/>
                <a:gd name="connsiteX5" fmla="*/ 157491 w 1828800"/>
                <a:gd name="connsiteY5" fmla="*/ 457203 h 914402"/>
                <a:gd name="connsiteX0" fmla="*/ 0 w 1828800"/>
                <a:gd name="connsiteY0" fmla="*/ 0 h 914402"/>
                <a:gd name="connsiteX1" fmla="*/ 1671309 w 1828800"/>
                <a:gd name="connsiteY1" fmla="*/ 0 h 914402"/>
                <a:gd name="connsiteX2" fmla="*/ 1828800 w 1828800"/>
                <a:gd name="connsiteY2" fmla="*/ 457200 h 914402"/>
                <a:gd name="connsiteX3" fmla="*/ 1712068 w 1828800"/>
                <a:gd name="connsiteY3" fmla="*/ 914402 h 914402"/>
                <a:gd name="connsiteX4" fmla="*/ 0 w 1828800"/>
                <a:gd name="connsiteY4" fmla="*/ 914400 h 914402"/>
                <a:gd name="connsiteX5" fmla="*/ 157491 w 1828800"/>
                <a:gd name="connsiteY5" fmla="*/ 457203 h 914402"/>
                <a:gd name="connsiteX0" fmla="*/ 0 w 1828800"/>
                <a:gd name="connsiteY0" fmla="*/ 0 h 914402"/>
                <a:gd name="connsiteX1" fmla="*/ 1671309 w 1828800"/>
                <a:gd name="connsiteY1" fmla="*/ 0 h 914402"/>
                <a:gd name="connsiteX2" fmla="*/ 1828800 w 1828800"/>
                <a:gd name="connsiteY2" fmla="*/ 457200 h 914402"/>
                <a:gd name="connsiteX3" fmla="*/ 1671309 w 1828800"/>
                <a:gd name="connsiteY3" fmla="*/ 914402 h 914402"/>
                <a:gd name="connsiteX4" fmla="*/ 0 w 1828800"/>
                <a:gd name="connsiteY4" fmla="*/ 914400 h 914402"/>
                <a:gd name="connsiteX5" fmla="*/ 157491 w 1828800"/>
                <a:gd name="connsiteY5" fmla="*/ 457203 h 914402"/>
                <a:gd name="connsiteX0" fmla="*/ 0 w 1828800"/>
                <a:gd name="connsiteY0" fmla="*/ 0 h 914402"/>
                <a:gd name="connsiteX1" fmla="*/ 1671309 w 1828800"/>
                <a:gd name="connsiteY1" fmla="*/ 0 h 914402"/>
                <a:gd name="connsiteX2" fmla="*/ 1828800 w 1828800"/>
                <a:gd name="connsiteY2" fmla="*/ 457200 h 914402"/>
                <a:gd name="connsiteX3" fmla="*/ 1671309 w 1828800"/>
                <a:gd name="connsiteY3" fmla="*/ 914402 h 914402"/>
                <a:gd name="connsiteX4" fmla="*/ 0 w 1828800"/>
                <a:gd name="connsiteY4" fmla="*/ 914400 h 914402"/>
                <a:gd name="connsiteX5" fmla="*/ 196474 w 1828800"/>
                <a:gd name="connsiteY5" fmla="*/ 457203 h 914402"/>
                <a:gd name="connsiteX0" fmla="*/ 0 w 1828800"/>
                <a:gd name="connsiteY0" fmla="*/ 0 h 914402"/>
                <a:gd name="connsiteX1" fmla="*/ 1632326 w 1828800"/>
                <a:gd name="connsiteY1" fmla="*/ 0 h 914402"/>
                <a:gd name="connsiteX2" fmla="*/ 1828800 w 1828800"/>
                <a:gd name="connsiteY2" fmla="*/ 457200 h 914402"/>
                <a:gd name="connsiteX3" fmla="*/ 1671309 w 1828800"/>
                <a:gd name="connsiteY3" fmla="*/ 914402 h 914402"/>
                <a:gd name="connsiteX4" fmla="*/ 0 w 1828800"/>
                <a:gd name="connsiteY4" fmla="*/ 914400 h 914402"/>
                <a:gd name="connsiteX5" fmla="*/ 196474 w 1828800"/>
                <a:gd name="connsiteY5" fmla="*/ 457203 h 914402"/>
                <a:gd name="connsiteX0" fmla="*/ 0 w 1828800"/>
                <a:gd name="connsiteY0" fmla="*/ 0 h 914402"/>
                <a:gd name="connsiteX1" fmla="*/ 1632326 w 1828800"/>
                <a:gd name="connsiteY1" fmla="*/ 0 h 914402"/>
                <a:gd name="connsiteX2" fmla="*/ 1828800 w 1828800"/>
                <a:gd name="connsiteY2" fmla="*/ 457200 h 914402"/>
                <a:gd name="connsiteX3" fmla="*/ 1632326 w 1828800"/>
                <a:gd name="connsiteY3" fmla="*/ 914402 h 914402"/>
                <a:gd name="connsiteX4" fmla="*/ 0 w 1828800"/>
                <a:gd name="connsiteY4" fmla="*/ 914400 h 914402"/>
                <a:gd name="connsiteX5" fmla="*/ 196474 w 1828800"/>
                <a:gd name="connsiteY5" fmla="*/ 457203 h 914402"/>
                <a:gd name="connsiteX0" fmla="*/ 0 w 1828800"/>
                <a:gd name="connsiteY0" fmla="*/ 0 h 914402"/>
                <a:gd name="connsiteX1" fmla="*/ 1632326 w 1828800"/>
                <a:gd name="connsiteY1" fmla="*/ 0 h 914402"/>
                <a:gd name="connsiteX2" fmla="*/ 1828800 w 1828800"/>
                <a:gd name="connsiteY2" fmla="*/ 457200 h 914402"/>
                <a:gd name="connsiteX3" fmla="*/ 163232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3232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197036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197036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197036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204615 w 1828800"/>
                <a:gd name="connsiteY5" fmla="*/ 457203 h 914402"/>
                <a:gd name="connsiteX0" fmla="*/ 0 w 1828800"/>
                <a:gd name="connsiteY0" fmla="*/ 0 h 914402"/>
                <a:gd name="connsiteX1" fmla="*/ 1624187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131320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24187 w 1828800"/>
                <a:gd name="connsiteY3" fmla="*/ 914402 h 914402"/>
                <a:gd name="connsiteX4" fmla="*/ 0 w 1828800"/>
                <a:gd name="connsiteY4" fmla="*/ 914400 h 914402"/>
                <a:gd name="connsiteX5" fmla="*/ 131320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131320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135045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135045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135045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93755" y="0"/>
                  </a:lnTo>
                  <a:lnTo>
                    <a:pt x="1828800" y="457200"/>
                  </a:lnTo>
                  <a:lnTo>
                    <a:pt x="1693755" y="914402"/>
                  </a:lnTo>
                  <a:lnTo>
                    <a:pt x="0" y="914400"/>
                  </a:lnTo>
                  <a:lnTo>
                    <a:pt x="135045" y="4572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830" b="1" dirty="0">
                <a:solidFill>
                  <a:schemeClr val="bg1"/>
                </a:solidFill>
              </a:endParaRPr>
            </a:p>
          </p:txBody>
        </p:sp>
        <p:sp>
          <p:nvSpPr>
            <p:cNvPr id="73" name="TextBox 4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43166" y="1360125"/>
              <a:ext cx="869699" cy="21550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30" b="1" dirty="0">
                  <a:solidFill>
                    <a:schemeClr val="bg1"/>
                  </a:solidFill>
                </a:rPr>
                <a:t>Surface</a:t>
              </a:r>
            </a:p>
          </p:txBody>
        </p:sp>
      </p:grpSp>
      <p:grpSp>
        <p:nvGrpSpPr>
          <p:cNvPr id="82" name="Group 81"/>
          <p:cNvGrpSpPr/>
          <p:nvPr>
            <p:custDataLst>
              <p:tags r:id="rId7"/>
            </p:custDataLst>
          </p:nvPr>
        </p:nvGrpSpPr>
        <p:grpSpPr>
          <a:xfrm>
            <a:off x="9869678" y="1681705"/>
            <a:ext cx="1411313" cy="660702"/>
            <a:chOff x="7552723" y="1246348"/>
            <a:chExt cx="1080000" cy="443059"/>
          </a:xfrm>
          <a:solidFill>
            <a:schemeClr val="accent4"/>
          </a:solidFill>
        </p:grpSpPr>
        <p:sp>
          <p:nvSpPr>
            <p:cNvPr id="75" name="Freeform 74"/>
            <p:cNvSpPr/>
            <p:nvPr>
              <p:custDataLst>
                <p:tags r:id="rId8"/>
              </p:custDataLst>
            </p:nvPr>
          </p:nvSpPr>
          <p:spPr bwMode="auto">
            <a:xfrm>
              <a:off x="7552723" y="1246348"/>
              <a:ext cx="1080000" cy="44305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85722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85722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5722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2 w 1828800"/>
                <a:gd name="connsiteY1" fmla="*/ 0 h 914402"/>
                <a:gd name="connsiteX2" fmla="*/ 1828800 w 1828800"/>
                <a:gd name="connsiteY2" fmla="*/ 457200 h 914402"/>
                <a:gd name="connsiteX3" fmla="*/ 1662162 w 1828800"/>
                <a:gd name="connsiteY3" fmla="*/ 914402 h 914402"/>
                <a:gd name="connsiteX4" fmla="*/ 0 w 1828800"/>
                <a:gd name="connsiteY4" fmla="*/ 914400 h 914402"/>
                <a:gd name="connsiteX5" fmla="*/ 166638 w 1828800"/>
                <a:gd name="connsiteY5" fmla="*/ 457202 h 914402"/>
                <a:gd name="connsiteX0" fmla="*/ 0 w 1828800"/>
                <a:gd name="connsiteY0" fmla="*/ 0 h 914402"/>
                <a:gd name="connsiteX1" fmla="*/ 1662162 w 1828800"/>
                <a:gd name="connsiteY1" fmla="*/ 0 h 914402"/>
                <a:gd name="connsiteX2" fmla="*/ 1828800 w 1828800"/>
                <a:gd name="connsiteY2" fmla="*/ 457200 h 914402"/>
                <a:gd name="connsiteX3" fmla="*/ 1662162 w 1828800"/>
                <a:gd name="connsiteY3" fmla="*/ 914402 h 914402"/>
                <a:gd name="connsiteX4" fmla="*/ 0 w 1828800"/>
                <a:gd name="connsiteY4" fmla="*/ 914400 h 914402"/>
                <a:gd name="connsiteX5" fmla="*/ 111484 w 1828800"/>
                <a:gd name="connsiteY5" fmla="*/ 457202 h 914402"/>
                <a:gd name="connsiteX0" fmla="*/ 0 w 1828800"/>
                <a:gd name="connsiteY0" fmla="*/ 0 h 914402"/>
                <a:gd name="connsiteX1" fmla="*/ 1717316 w 1828800"/>
                <a:gd name="connsiteY1" fmla="*/ 0 h 914402"/>
                <a:gd name="connsiteX2" fmla="*/ 1828800 w 1828800"/>
                <a:gd name="connsiteY2" fmla="*/ 457200 h 914402"/>
                <a:gd name="connsiteX3" fmla="*/ 1662162 w 1828800"/>
                <a:gd name="connsiteY3" fmla="*/ 914402 h 914402"/>
                <a:gd name="connsiteX4" fmla="*/ 0 w 1828800"/>
                <a:gd name="connsiteY4" fmla="*/ 914400 h 914402"/>
                <a:gd name="connsiteX5" fmla="*/ 111484 w 1828800"/>
                <a:gd name="connsiteY5" fmla="*/ 457202 h 914402"/>
                <a:gd name="connsiteX0" fmla="*/ 0 w 1828800"/>
                <a:gd name="connsiteY0" fmla="*/ 0 h 914402"/>
                <a:gd name="connsiteX1" fmla="*/ 1717316 w 1828800"/>
                <a:gd name="connsiteY1" fmla="*/ 0 h 914402"/>
                <a:gd name="connsiteX2" fmla="*/ 1828800 w 1828800"/>
                <a:gd name="connsiteY2" fmla="*/ 457200 h 914402"/>
                <a:gd name="connsiteX3" fmla="*/ 1717316 w 1828800"/>
                <a:gd name="connsiteY3" fmla="*/ 914402 h 914402"/>
                <a:gd name="connsiteX4" fmla="*/ 0 w 1828800"/>
                <a:gd name="connsiteY4" fmla="*/ 914400 h 914402"/>
                <a:gd name="connsiteX5" fmla="*/ 111484 w 1828800"/>
                <a:gd name="connsiteY5" fmla="*/ 457202 h 914402"/>
                <a:gd name="connsiteX0" fmla="*/ 0 w 1828800"/>
                <a:gd name="connsiteY0" fmla="*/ 0 h 914402"/>
                <a:gd name="connsiteX1" fmla="*/ 1717316 w 1828800"/>
                <a:gd name="connsiteY1" fmla="*/ 0 h 914402"/>
                <a:gd name="connsiteX2" fmla="*/ 1828800 w 1828800"/>
                <a:gd name="connsiteY2" fmla="*/ 457200 h 914402"/>
                <a:gd name="connsiteX3" fmla="*/ 1717316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717316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222347 w 1828800"/>
                <a:gd name="connsiteY5" fmla="*/ 457202 h 914402"/>
                <a:gd name="connsiteX0" fmla="*/ 0 w 1828800"/>
                <a:gd name="connsiteY0" fmla="*/ 0 h 914402"/>
                <a:gd name="connsiteX1" fmla="*/ 1606453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06453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169969 w 1828800"/>
                <a:gd name="connsiteY5" fmla="*/ 457203 h 914402"/>
                <a:gd name="connsiteX0" fmla="*/ 0 w 1828800"/>
                <a:gd name="connsiteY0" fmla="*/ 0 h 914402"/>
                <a:gd name="connsiteX1" fmla="*/ 1658831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200857 w 1828800"/>
                <a:gd name="connsiteY5" fmla="*/ 457203 h 914402"/>
                <a:gd name="connsiteX0" fmla="*/ 0 w 1828800"/>
                <a:gd name="connsiteY0" fmla="*/ 0 h 914402"/>
                <a:gd name="connsiteX1" fmla="*/ 1627945 w 1828800"/>
                <a:gd name="connsiteY1" fmla="*/ 0 h 914402"/>
                <a:gd name="connsiteX2" fmla="*/ 1828800 w 1828800"/>
                <a:gd name="connsiteY2" fmla="*/ 457200 h 914402"/>
                <a:gd name="connsiteX3" fmla="*/ 1658831 w 1828800"/>
                <a:gd name="connsiteY3" fmla="*/ 914402 h 914402"/>
                <a:gd name="connsiteX4" fmla="*/ 0 w 1828800"/>
                <a:gd name="connsiteY4" fmla="*/ 914400 h 914402"/>
                <a:gd name="connsiteX5" fmla="*/ 200857 w 1828800"/>
                <a:gd name="connsiteY5" fmla="*/ 457203 h 914402"/>
                <a:gd name="connsiteX0" fmla="*/ 0 w 1828800"/>
                <a:gd name="connsiteY0" fmla="*/ 0 h 914402"/>
                <a:gd name="connsiteX1" fmla="*/ 1627945 w 1828800"/>
                <a:gd name="connsiteY1" fmla="*/ 0 h 914402"/>
                <a:gd name="connsiteX2" fmla="*/ 1828800 w 1828800"/>
                <a:gd name="connsiteY2" fmla="*/ 457200 h 914402"/>
                <a:gd name="connsiteX3" fmla="*/ 1627945 w 1828800"/>
                <a:gd name="connsiteY3" fmla="*/ 914402 h 914402"/>
                <a:gd name="connsiteX4" fmla="*/ 0 w 1828800"/>
                <a:gd name="connsiteY4" fmla="*/ 914400 h 914402"/>
                <a:gd name="connsiteX5" fmla="*/ 200857 w 1828800"/>
                <a:gd name="connsiteY5" fmla="*/ 457203 h 914402"/>
                <a:gd name="connsiteX0" fmla="*/ 0 w 1828800"/>
                <a:gd name="connsiteY0" fmla="*/ 0 h 914402"/>
                <a:gd name="connsiteX1" fmla="*/ 1627945 w 1828800"/>
                <a:gd name="connsiteY1" fmla="*/ 0 h 914402"/>
                <a:gd name="connsiteX2" fmla="*/ 1828800 w 1828800"/>
                <a:gd name="connsiteY2" fmla="*/ 457200 h 914402"/>
                <a:gd name="connsiteX3" fmla="*/ 1627945 w 1828800"/>
                <a:gd name="connsiteY3" fmla="*/ 914402 h 914402"/>
                <a:gd name="connsiteX4" fmla="*/ 0 w 1828800"/>
                <a:gd name="connsiteY4" fmla="*/ 914400 h 914402"/>
                <a:gd name="connsiteX5" fmla="*/ 172526 w 1828800"/>
                <a:gd name="connsiteY5" fmla="*/ 457203 h 914402"/>
                <a:gd name="connsiteX0" fmla="*/ 0 w 1828800"/>
                <a:gd name="connsiteY0" fmla="*/ 0 h 914402"/>
                <a:gd name="connsiteX1" fmla="*/ 1656272 w 1828800"/>
                <a:gd name="connsiteY1" fmla="*/ 0 h 914402"/>
                <a:gd name="connsiteX2" fmla="*/ 1828800 w 1828800"/>
                <a:gd name="connsiteY2" fmla="*/ 457200 h 914402"/>
                <a:gd name="connsiteX3" fmla="*/ 1627945 w 1828800"/>
                <a:gd name="connsiteY3" fmla="*/ 914402 h 914402"/>
                <a:gd name="connsiteX4" fmla="*/ 0 w 1828800"/>
                <a:gd name="connsiteY4" fmla="*/ 914400 h 914402"/>
                <a:gd name="connsiteX5" fmla="*/ 172526 w 1828800"/>
                <a:gd name="connsiteY5" fmla="*/ 457203 h 914402"/>
                <a:gd name="connsiteX0" fmla="*/ 0 w 1828800"/>
                <a:gd name="connsiteY0" fmla="*/ 0 h 914402"/>
                <a:gd name="connsiteX1" fmla="*/ 1656272 w 1828800"/>
                <a:gd name="connsiteY1" fmla="*/ 0 h 914402"/>
                <a:gd name="connsiteX2" fmla="*/ 1828800 w 1828800"/>
                <a:gd name="connsiteY2" fmla="*/ 457200 h 914402"/>
                <a:gd name="connsiteX3" fmla="*/ 1656272 w 1828800"/>
                <a:gd name="connsiteY3" fmla="*/ 914402 h 914402"/>
                <a:gd name="connsiteX4" fmla="*/ 0 w 1828800"/>
                <a:gd name="connsiteY4" fmla="*/ 914400 h 914402"/>
                <a:gd name="connsiteX5" fmla="*/ 172526 w 1828800"/>
                <a:gd name="connsiteY5" fmla="*/ 457203 h 914402"/>
                <a:gd name="connsiteX0" fmla="*/ 0 w 1828800"/>
                <a:gd name="connsiteY0" fmla="*/ 0 h 914402"/>
                <a:gd name="connsiteX1" fmla="*/ 1656272 w 1828800"/>
                <a:gd name="connsiteY1" fmla="*/ 0 h 914402"/>
                <a:gd name="connsiteX2" fmla="*/ 1828800 w 1828800"/>
                <a:gd name="connsiteY2" fmla="*/ 457200 h 914402"/>
                <a:gd name="connsiteX3" fmla="*/ 16562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562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16368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16368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163680 w 1828800"/>
                <a:gd name="connsiteY5" fmla="*/ 457204 h 914402"/>
                <a:gd name="connsiteX0" fmla="*/ 0 w 1828800"/>
                <a:gd name="connsiteY0" fmla="*/ 0 h 914402"/>
                <a:gd name="connsiteX1" fmla="*/ 1665120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512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59728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59728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59728 w 1828800"/>
                <a:gd name="connsiteY5" fmla="*/ 457204 h 914402"/>
                <a:gd name="connsiteX0" fmla="*/ 0 w 1828800"/>
                <a:gd name="connsiteY0" fmla="*/ 0 h 914402"/>
                <a:gd name="connsiteX1" fmla="*/ 1669072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69072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29303 w 1828800"/>
                <a:gd name="connsiteY5" fmla="*/ 457204 h 914402"/>
                <a:gd name="connsiteX0" fmla="*/ 0 w 1828800"/>
                <a:gd name="connsiteY0" fmla="*/ 0 h 914402"/>
                <a:gd name="connsiteX1" fmla="*/ 1699497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74452 w 1828800"/>
                <a:gd name="connsiteY5" fmla="*/ 457203 h 914402"/>
                <a:gd name="connsiteX0" fmla="*/ 0 w 1828800"/>
                <a:gd name="connsiteY0" fmla="*/ 0 h 914402"/>
                <a:gd name="connsiteX1" fmla="*/ 1654348 w 1828800"/>
                <a:gd name="connsiteY1" fmla="*/ 0 h 914402"/>
                <a:gd name="connsiteX2" fmla="*/ 1828800 w 1828800"/>
                <a:gd name="connsiteY2" fmla="*/ 457200 h 914402"/>
                <a:gd name="connsiteX3" fmla="*/ 1699497 w 1828800"/>
                <a:gd name="connsiteY3" fmla="*/ 914402 h 914402"/>
                <a:gd name="connsiteX4" fmla="*/ 0 w 1828800"/>
                <a:gd name="connsiteY4" fmla="*/ 914400 h 914402"/>
                <a:gd name="connsiteX5" fmla="*/ 174452 w 1828800"/>
                <a:gd name="connsiteY5" fmla="*/ 457203 h 914402"/>
                <a:gd name="connsiteX0" fmla="*/ 0 w 1828800"/>
                <a:gd name="connsiteY0" fmla="*/ 0 h 914402"/>
                <a:gd name="connsiteX1" fmla="*/ 1654348 w 1828800"/>
                <a:gd name="connsiteY1" fmla="*/ 0 h 914402"/>
                <a:gd name="connsiteX2" fmla="*/ 1828800 w 1828800"/>
                <a:gd name="connsiteY2" fmla="*/ 457200 h 914402"/>
                <a:gd name="connsiteX3" fmla="*/ 1654348 w 1828800"/>
                <a:gd name="connsiteY3" fmla="*/ 914402 h 914402"/>
                <a:gd name="connsiteX4" fmla="*/ 0 w 1828800"/>
                <a:gd name="connsiteY4" fmla="*/ 914400 h 914402"/>
                <a:gd name="connsiteX5" fmla="*/ 174452 w 1828800"/>
                <a:gd name="connsiteY5" fmla="*/ 457203 h 914402"/>
                <a:gd name="connsiteX0" fmla="*/ 0 w 1828800"/>
                <a:gd name="connsiteY0" fmla="*/ 0 h 914402"/>
                <a:gd name="connsiteX1" fmla="*/ 1654348 w 1828800"/>
                <a:gd name="connsiteY1" fmla="*/ 0 h 914402"/>
                <a:gd name="connsiteX2" fmla="*/ 1828800 w 1828800"/>
                <a:gd name="connsiteY2" fmla="*/ 457200 h 914402"/>
                <a:gd name="connsiteX3" fmla="*/ 1654348 w 1828800"/>
                <a:gd name="connsiteY3" fmla="*/ 914402 h 914402"/>
                <a:gd name="connsiteX4" fmla="*/ 0 w 1828800"/>
                <a:gd name="connsiteY4" fmla="*/ 914400 h 914402"/>
                <a:gd name="connsiteX5" fmla="*/ 217633 w 1828800"/>
                <a:gd name="connsiteY5" fmla="*/ 457203 h 914402"/>
                <a:gd name="connsiteX0" fmla="*/ 0 w 1828800"/>
                <a:gd name="connsiteY0" fmla="*/ 0 h 914402"/>
                <a:gd name="connsiteX1" fmla="*/ 1611167 w 1828800"/>
                <a:gd name="connsiteY1" fmla="*/ 0 h 914402"/>
                <a:gd name="connsiteX2" fmla="*/ 1828800 w 1828800"/>
                <a:gd name="connsiteY2" fmla="*/ 457200 h 914402"/>
                <a:gd name="connsiteX3" fmla="*/ 1654348 w 1828800"/>
                <a:gd name="connsiteY3" fmla="*/ 914402 h 914402"/>
                <a:gd name="connsiteX4" fmla="*/ 0 w 1828800"/>
                <a:gd name="connsiteY4" fmla="*/ 914400 h 914402"/>
                <a:gd name="connsiteX5" fmla="*/ 217633 w 1828800"/>
                <a:gd name="connsiteY5" fmla="*/ 457203 h 914402"/>
                <a:gd name="connsiteX0" fmla="*/ 0 w 1828800"/>
                <a:gd name="connsiteY0" fmla="*/ 0 h 914402"/>
                <a:gd name="connsiteX1" fmla="*/ 1611167 w 1828800"/>
                <a:gd name="connsiteY1" fmla="*/ 0 h 914402"/>
                <a:gd name="connsiteX2" fmla="*/ 1828800 w 1828800"/>
                <a:gd name="connsiteY2" fmla="*/ 457200 h 914402"/>
                <a:gd name="connsiteX3" fmla="*/ 1611167 w 1828800"/>
                <a:gd name="connsiteY3" fmla="*/ 914402 h 914402"/>
                <a:gd name="connsiteX4" fmla="*/ 0 w 1828800"/>
                <a:gd name="connsiteY4" fmla="*/ 914400 h 914402"/>
                <a:gd name="connsiteX5" fmla="*/ 217633 w 1828800"/>
                <a:gd name="connsiteY5" fmla="*/ 457203 h 914402"/>
                <a:gd name="connsiteX0" fmla="*/ 0 w 1828800"/>
                <a:gd name="connsiteY0" fmla="*/ 0 h 914402"/>
                <a:gd name="connsiteX1" fmla="*/ 1611167 w 1828800"/>
                <a:gd name="connsiteY1" fmla="*/ 0 h 914402"/>
                <a:gd name="connsiteX2" fmla="*/ 1828800 w 1828800"/>
                <a:gd name="connsiteY2" fmla="*/ 457200 h 914402"/>
                <a:gd name="connsiteX3" fmla="*/ 161116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11167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204613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204613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204613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197034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197034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197034 w 1828800"/>
                <a:gd name="connsiteY5" fmla="*/ 457203 h 914402"/>
                <a:gd name="connsiteX0" fmla="*/ 0 w 1828800"/>
                <a:gd name="connsiteY0" fmla="*/ 0 h 914402"/>
                <a:gd name="connsiteX1" fmla="*/ 1631766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317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204613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204613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204613 w 1828800"/>
                <a:gd name="connsiteY5" fmla="*/ 457203 h 914402"/>
                <a:gd name="connsiteX0" fmla="*/ 0 w 1828800"/>
                <a:gd name="connsiteY0" fmla="*/ 0 h 914402"/>
                <a:gd name="connsiteX1" fmla="*/ 1624185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131320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24185 w 1828800"/>
                <a:gd name="connsiteY3" fmla="*/ 914402 h 914402"/>
                <a:gd name="connsiteX4" fmla="*/ 0 w 1828800"/>
                <a:gd name="connsiteY4" fmla="*/ 914400 h 914402"/>
                <a:gd name="connsiteX5" fmla="*/ 131320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131320 w 1828800"/>
                <a:gd name="connsiteY5" fmla="*/ 457202 h 914402"/>
                <a:gd name="connsiteX0" fmla="*/ 0 w 1828800"/>
                <a:gd name="connsiteY0" fmla="*/ 0 h 914402"/>
                <a:gd name="connsiteX1" fmla="*/ 1697480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748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135045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135045 w 1828800"/>
                <a:gd name="connsiteY5" fmla="*/ 457202 h 914402"/>
                <a:gd name="connsiteX0" fmla="*/ 0 w 1828800"/>
                <a:gd name="connsiteY0" fmla="*/ 0 h 914402"/>
                <a:gd name="connsiteX1" fmla="*/ 1693755 w 1828800"/>
                <a:gd name="connsiteY1" fmla="*/ 0 h 914402"/>
                <a:gd name="connsiteX2" fmla="*/ 1828800 w 1828800"/>
                <a:gd name="connsiteY2" fmla="*/ 457200 h 914402"/>
                <a:gd name="connsiteX3" fmla="*/ 1693755 w 1828800"/>
                <a:gd name="connsiteY3" fmla="*/ 914402 h 914402"/>
                <a:gd name="connsiteX4" fmla="*/ 0 w 1828800"/>
                <a:gd name="connsiteY4" fmla="*/ 914400 h 914402"/>
                <a:gd name="connsiteX5" fmla="*/ 135045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93755" y="0"/>
                  </a:lnTo>
                  <a:lnTo>
                    <a:pt x="1828800" y="457200"/>
                  </a:lnTo>
                  <a:lnTo>
                    <a:pt x="1693755" y="914402"/>
                  </a:lnTo>
                  <a:lnTo>
                    <a:pt x="0" y="914400"/>
                  </a:lnTo>
                  <a:lnTo>
                    <a:pt x="135045" y="4572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830" b="1" dirty="0">
                <a:solidFill>
                  <a:schemeClr val="bg1"/>
                </a:solidFill>
              </a:endParaRPr>
            </a:p>
          </p:txBody>
        </p:sp>
        <p:sp>
          <p:nvSpPr>
            <p:cNvPr id="76" name="TextBox 4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7683274" y="1360125"/>
              <a:ext cx="869699" cy="21550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30" b="1" dirty="0">
                  <a:solidFill>
                    <a:schemeClr val="bg1"/>
                  </a:solidFill>
                </a:rPr>
                <a:t>Market</a:t>
              </a: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6250025" y="2949054"/>
            <a:ext cx="495518" cy="485601"/>
            <a:chOff x="-495286" y="1941513"/>
            <a:chExt cx="2896409" cy="2838450"/>
          </a:xfrm>
          <a:solidFill>
            <a:schemeClr val="accent4"/>
          </a:solidFill>
        </p:grpSpPr>
        <p:sp>
          <p:nvSpPr>
            <p:cNvPr id="95" name="Freeform 94"/>
            <p:cNvSpPr/>
            <p:nvPr/>
          </p:nvSpPr>
          <p:spPr>
            <a:xfrm>
              <a:off x="113464" y="1941513"/>
              <a:ext cx="557327" cy="393701"/>
            </a:xfrm>
            <a:custGeom>
              <a:avLst/>
              <a:gdLst>
                <a:gd name="connsiteX0" fmla="*/ 106867 w 557327"/>
                <a:gd name="connsiteY0" fmla="*/ 0 h 393701"/>
                <a:gd name="connsiteX1" fmla="*/ 450460 w 557327"/>
                <a:gd name="connsiteY1" fmla="*/ 0 h 393701"/>
                <a:gd name="connsiteX2" fmla="*/ 557327 w 557327"/>
                <a:gd name="connsiteY2" fmla="*/ 106867 h 393701"/>
                <a:gd name="connsiteX3" fmla="*/ 557327 w 557327"/>
                <a:gd name="connsiteY3" fmla="*/ 393701 h 393701"/>
                <a:gd name="connsiteX4" fmla="*/ 0 w 557327"/>
                <a:gd name="connsiteY4" fmla="*/ 393701 h 393701"/>
                <a:gd name="connsiteX5" fmla="*/ 0 w 557327"/>
                <a:gd name="connsiteY5" fmla="*/ 106867 h 393701"/>
                <a:gd name="connsiteX6" fmla="*/ 106867 w 557327"/>
                <a:gd name="connsiteY6" fmla="*/ 0 h 39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7327" h="393701">
                  <a:moveTo>
                    <a:pt x="106867" y="0"/>
                  </a:moveTo>
                  <a:lnTo>
                    <a:pt x="450460" y="0"/>
                  </a:lnTo>
                  <a:cubicBezTo>
                    <a:pt x="509481" y="0"/>
                    <a:pt x="557327" y="47846"/>
                    <a:pt x="557327" y="106867"/>
                  </a:cubicBezTo>
                  <a:lnTo>
                    <a:pt x="557327" y="393701"/>
                  </a:lnTo>
                  <a:lnTo>
                    <a:pt x="0" y="393701"/>
                  </a:lnTo>
                  <a:lnTo>
                    <a:pt x="0" y="106867"/>
                  </a:lnTo>
                  <a:cubicBezTo>
                    <a:pt x="0" y="47846"/>
                    <a:pt x="47846" y="0"/>
                    <a:pt x="106867" y="0"/>
                  </a:cubicBezTo>
                  <a:close/>
                </a:path>
              </a:pathLst>
            </a:custGeom>
            <a:grpFill/>
            <a:ln w="952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>
                <a:solidFill>
                  <a:schemeClr val="tx1"/>
                </a:solidFill>
              </a:endParaRPr>
            </a:p>
          </p:txBody>
        </p:sp>
        <p:sp>
          <p:nvSpPr>
            <p:cNvPr id="96" name="Freeform 95"/>
            <p:cNvSpPr/>
            <p:nvPr/>
          </p:nvSpPr>
          <p:spPr>
            <a:xfrm>
              <a:off x="-495286" y="4524376"/>
              <a:ext cx="999331" cy="255587"/>
            </a:xfrm>
            <a:custGeom>
              <a:avLst/>
              <a:gdLst>
                <a:gd name="connsiteX0" fmla="*/ 0 w 999331"/>
                <a:gd name="connsiteY0" fmla="*/ 0 h 255587"/>
                <a:gd name="connsiteX1" fmla="*/ 999331 w 999331"/>
                <a:gd name="connsiteY1" fmla="*/ 0 h 255587"/>
                <a:gd name="connsiteX2" fmla="*/ 999331 w 999331"/>
                <a:gd name="connsiteY2" fmla="*/ 152791 h 255587"/>
                <a:gd name="connsiteX3" fmla="*/ 896535 w 999331"/>
                <a:gd name="connsiteY3" fmla="*/ 255587 h 255587"/>
                <a:gd name="connsiteX4" fmla="*/ 102796 w 999331"/>
                <a:gd name="connsiteY4" fmla="*/ 255587 h 255587"/>
                <a:gd name="connsiteX5" fmla="*/ 0 w 999331"/>
                <a:gd name="connsiteY5" fmla="*/ 152791 h 255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9331" h="255587">
                  <a:moveTo>
                    <a:pt x="0" y="0"/>
                  </a:moveTo>
                  <a:lnTo>
                    <a:pt x="999331" y="0"/>
                  </a:lnTo>
                  <a:lnTo>
                    <a:pt x="999331" y="152791"/>
                  </a:lnTo>
                  <a:cubicBezTo>
                    <a:pt x="999331" y="209564"/>
                    <a:pt x="953308" y="255587"/>
                    <a:pt x="896535" y="255587"/>
                  </a:cubicBezTo>
                  <a:lnTo>
                    <a:pt x="102796" y="255587"/>
                  </a:lnTo>
                  <a:cubicBezTo>
                    <a:pt x="46023" y="255587"/>
                    <a:pt x="0" y="209564"/>
                    <a:pt x="0" y="152791"/>
                  </a:cubicBezTo>
                  <a:close/>
                </a:path>
              </a:pathLst>
            </a:custGeom>
            <a:grpFill/>
            <a:ln w="952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>
                <a:solidFill>
                  <a:schemeClr val="tx1"/>
                </a:solidFill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812666" y="2455859"/>
              <a:ext cx="280506" cy="1181100"/>
            </a:xfrm>
            <a:prstGeom prst="rect">
              <a:avLst/>
            </a:prstGeom>
            <a:grpFill/>
            <a:ln w="952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>
                <a:solidFill>
                  <a:schemeClr val="tx1"/>
                </a:solidFill>
              </a:endParaRPr>
            </a:p>
          </p:txBody>
        </p:sp>
        <p:sp>
          <p:nvSpPr>
            <p:cNvPr id="98" name="Freeform 97"/>
            <p:cNvSpPr/>
            <p:nvPr/>
          </p:nvSpPr>
          <p:spPr>
            <a:xfrm>
              <a:off x="-495142" y="2455859"/>
              <a:ext cx="1165933" cy="1973160"/>
            </a:xfrm>
            <a:custGeom>
              <a:avLst/>
              <a:gdLst>
                <a:gd name="connsiteX0" fmla="*/ 459277 w 1165933"/>
                <a:gd name="connsiteY0" fmla="*/ 0 h 1973160"/>
                <a:gd name="connsiteX1" fmla="*/ 869013 w 1165933"/>
                <a:gd name="connsiteY1" fmla="*/ 0 h 1973160"/>
                <a:gd name="connsiteX2" fmla="*/ 1053325 w 1165933"/>
                <a:gd name="connsiteY2" fmla="*/ 0 h 1973160"/>
                <a:gd name="connsiteX3" fmla="*/ 1165933 w 1165933"/>
                <a:gd name="connsiteY3" fmla="*/ 0 h 1973160"/>
                <a:gd name="connsiteX4" fmla="*/ 1165933 w 1165933"/>
                <a:gd name="connsiteY4" fmla="*/ 112608 h 1973160"/>
                <a:gd name="connsiteX5" fmla="*/ 1165933 w 1165933"/>
                <a:gd name="connsiteY5" fmla="*/ 365125 h 1973160"/>
                <a:gd name="connsiteX6" fmla="*/ 1165933 w 1165933"/>
                <a:gd name="connsiteY6" fmla="*/ 1184176 h 1973160"/>
                <a:gd name="connsiteX7" fmla="*/ 1110327 w 1165933"/>
                <a:gd name="connsiteY7" fmla="*/ 1195402 h 1973160"/>
                <a:gd name="connsiteX8" fmla="*/ 999187 w 1165933"/>
                <a:gd name="connsiteY8" fmla="*/ 1363073 h 1973160"/>
                <a:gd name="connsiteX9" fmla="*/ 999187 w 1165933"/>
                <a:gd name="connsiteY9" fmla="*/ 1973160 h 1973160"/>
                <a:gd name="connsiteX10" fmla="*/ 1746 w 1165933"/>
                <a:gd name="connsiteY10" fmla="*/ 1973160 h 1973160"/>
                <a:gd name="connsiteX11" fmla="*/ 1717 w 1165933"/>
                <a:gd name="connsiteY11" fmla="*/ 1970513 h 1973160"/>
                <a:gd name="connsiteX12" fmla="*/ 2238 w 1165933"/>
                <a:gd name="connsiteY12" fmla="*/ 1782766 h 1973160"/>
                <a:gd name="connsiteX13" fmla="*/ 33988 w 1165933"/>
                <a:gd name="connsiteY13" fmla="*/ 1512891 h 1973160"/>
                <a:gd name="connsiteX14" fmla="*/ 103838 w 1165933"/>
                <a:gd name="connsiteY14" fmla="*/ 1277941 h 1973160"/>
                <a:gd name="connsiteX15" fmla="*/ 192738 w 1165933"/>
                <a:gd name="connsiteY15" fmla="*/ 1065216 h 1973160"/>
                <a:gd name="connsiteX16" fmla="*/ 272113 w 1165933"/>
                <a:gd name="connsiteY16" fmla="*/ 852491 h 1973160"/>
                <a:gd name="connsiteX17" fmla="*/ 329263 w 1165933"/>
                <a:gd name="connsiteY17" fmla="*/ 573091 h 1973160"/>
                <a:gd name="connsiteX18" fmla="*/ 342558 w 1165933"/>
                <a:gd name="connsiteY18" fmla="*/ 397077 h 1973160"/>
                <a:gd name="connsiteX19" fmla="*/ 346669 w 1165933"/>
                <a:gd name="connsiteY19" fmla="*/ 314647 h 1973160"/>
                <a:gd name="connsiteX20" fmla="*/ 346669 w 1165933"/>
                <a:gd name="connsiteY20" fmla="*/ 112608 h 1973160"/>
                <a:gd name="connsiteX21" fmla="*/ 459277 w 1165933"/>
                <a:gd name="connsiteY21" fmla="*/ 0 h 1973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65933" h="1973160">
                  <a:moveTo>
                    <a:pt x="459277" y="0"/>
                  </a:moveTo>
                  <a:lnTo>
                    <a:pt x="869013" y="0"/>
                  </a:lnTo>
                  <a:lnTo>
                    <a:pt x="1053325" y="0"/>
                  </a:lnTo>
                  <a:lnTo>
                    <a:pt x="1165933" y="0"/>
                  </a:lnTo>
                  <a:lnTo>
                    <a:pt x="1165933" y="112608"/>
                  </a:lnTo>
                  <a:lnTo>
                    <a:pt x="1165933" y="365125"/>
                  </a:lnTo>
                  <a:lnTo>
                    <a:pt x="1165933" y="1184176"/>
                  </a:lnTo>
                  <a:lnTo>
                    <a:pt x="1110327" y="1195402"/>
                  </a:lnTo>
                  <a:cubicBezTo>
                    <a:pt x="1045015" y="1223027"/>
                    <a:pt x="999187" y="1287698"/>
                    <a:pt x="999187" y="1363073"/>
                  </a:cubicBezTo>
                  <a:lnTo>
                    <a:pt x="999187" y="1973160"/>
                  </a:lnTo>
                  <a:lnTo>
                    <a:pt x="1746" y="1973160"/>
                  </a:lnTo>
                  <a:lnTo>
                    <a:pt x="1717" y="1970513"/>
                  </a:lnTo>
                  <a:cubicBezTo>
                    <a:pt x="551" y="1916711"/>
                    <a:pt x="-1731" y="1845869"/>
                    <a:pt x="2238" y="1782766"/>
                  </a:cubicBezTo>
                  <a:cubicBezTo>
                    <a:pt x="7530" y="1698628"/>
                    <a:pt x="17055" y="1597028"/>
                    <a:pt x="33988" y="1512891"/>
                  </a:cubicBezTo>
                  <a:cubicBezTo>
                    <a:pt x="50921" y="1428754"/>
                    <a:pt x="77380" y="1352553"/>
                    <a:pt x="103838" y="1277941"/>
                  </a:cubicBezTo>
                  <a:cubicBezTo>
                    <a:pt x="130296" y="1203329"/>
                    <a:pt x="164692" y="1136124"/>
                    <a:pt x="192738" y="1065216"/>
                  </a:cubicBezTo>
                  <a:cubicBezTo>
                    <a:pt x="220784" y="994308"/>
                    <a:pt x="249359" y="934512"/>
                    <a:pt x="272113" y="852491"/>
                  </a:cubicBezTo>
                  <a:cubicBezTo>
                    <a:pt x="294867" y="770470"/>
                    <a:pt x="316034" y="673103"/>
                    <a:pt x="329263" y="573091"/>
                  </a:cubicBezTo>
                  <a:cubicBezTo>
                    <a:pt x="335877" y="523085"/>
                    <a:pt x="339582" y="457468"/>
                    <a:pt x="342558" y="397077"/>
                  </a:cubicBezTo>
                  <a:lnTo>
                    <a:pt x="346669" y="314647"/>
                  </a:lnTo>
                  <a:lnTo>
                    <a:pt x="346669" y="112608"/>
                  </a:lnTo>
                  <a:cubicBezTo>
                    <a:pt x="346669" y="50416"/>
                    <a:pt x="397085" y="0"/>
                    <a:pt x="459277" y="0"/>
                  </a:cubicBezTo>
                  <a:close/>
                </a:path>
              </a:pathLst>
            </a:custGeom>
            <a:grpFill/>
            <a:ln w="952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>
                <a:solidFill>
                  <a:schemeClr val="tx1"/>
                </a:solidFill>
              </a:endParaRPr>
            </a:p>
          </p:txBody>
        </p:sp>
        <p:sp>
          <p:nvSpPr>
            <p:cNvPr id="99" name="Freeform 98"/>
            <p:cNvSpPr/>
            <p:nvPr/>
          </p:nvSpPr>
          <p:spPr>
            <a:xfrm flipH="1">
              <a:off x="1235046" y="1941513"/>
              <a:ext cx="557327" cy="393701"/>
            </a:xfrm>
            <a:custGeom>
              <a:avLst/>
              <a:gdLst>
                <a:gd name="connsiteX0" fmla="*/ 106867 w 557327"/>
                <a:gd name="connsiteY0" fmla="*/ 0 h 393701"/>
                <a:gd name="connsiteX1" fmla="*/ 450460 w 557327"/>
                <a:gd name="connsiteY1" fmla="*/ 0 h 393701"/>
                <a:gd name="connsiteX2" fmla="*/ 557327 w 557327"/>
                <a:gd name="connsiteY2" fmla="*/ 106867 h 393701"/>
                <a:gd name="connsiteX3" fmla="*/ 557327 w 557327"/>
                <a:gd name="connsiteY3" fmla="*/ 393701 h 393701"/>
                <a:gd name="connsiteX4" fmla="*/ 0 w 557327"/>
                <a:gd name="connsiteY4" fmla="*/ 393701 h 393701"/>
                <a:gd name="connsiteX5" fmla="*/ 0 w 557327"/>
                <a:gd name="connsiteY5" fmla="*/ 106867 h 393701"/>
                <a:gd name="connsiteX6" fmla="*/ 106867 w 557327"/>
                <a:gd name="connsiteY6" fmla="*/ 0 h 39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7327" h="393701">
                  <a:moveTo>
                    <a:pt x="106867" y="0"/>
                  </a:moveTo>
                  <a:lnTo>
                    <a:pt x="450460" y="0"/>
                  </a:lnTo>
                  <a:cubicBezTo>
                    <a:pt x="509481" y="0"/>
                    <a:pt x="557327" y="47846"/>
                    <a:pt x="557327" y="106867"/>
                  </a:cubicBezTo>
                  <a:lnTo>
                    <a:pt x="557327" y="393701"/>
                  </a:lnTo>
                  <a:lnTo>
                    <a:pt x="0" y="393701"/>
                  </a:lnTo>
                  <a:lnTo>
                    <a:pt x="0" y="106867"/>
                  </a:lnTo>
                  <a:cubicBezTo>
                    <a:pt x="0" y="47846"/>
                    <a:pt x="47846" y="0"/>
                    <a:pt x="106867" y="0"/>
                  </a:cubicBezTo>
                  <a:close/>
                </a:path>
              </a:pathLst>
            </a:custGeom>
            <a:grpFill/>
            <a:ln w="952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>
                <a:solidFill>
                  <a:schemeClr val="tx1"/>
                </a:solidFill>
              </a:endParaRPr>
            </a:p>
          </p:txBody>
        </p:sp>
        <p:sp>
          <p:nvSpPr>
            <p:cNvPr id="100" name="Freeform 99"/>
            <p:cNvSpPr/>
            <p:nvPr/>
          </p:nvSpPr>
          <p:spPr>
            <a:xfrm flipH="1">
              <a:off x="1401792" y="4524376"/>
              <a:ext cx="999331" cy="255587"/>
            </a:xfrm>
            <a:custGeom>
              <a:avLst/>
              <a:gdLst>
                <a:gd name="connsiteX0" fmla="*/ 0 w 999331"/>
                <a:gd name="connsiteY0" fmla="*/ 0 h 255587"/>
                <a:gd name="connsiteX1" fmla="*/ 999331 w 999331"/>
                <a:gd name="connsiteY1" fmla="*/ 0 h 255587"/>
                <a:gd name="connsiteX2" fmla="*/ 999331 w 999331"/>
                <a:gd name="connsiteY2" fmla="*/ 152791 h 255587"/>
                <a:gd name="connsiteX3" fmla="*/ 896535 w 999331"/>
                <a:gd name="connsiteY3" fmla="*/ 255587 h 255587"/>
                <a:gd name="connsiteX4" fmla="*/ 102796 w 999331"/>
                <a:gd name="connsiteY4" fmla="*/ 255587 h 255587"/>
                <a:gd name="connsiteX5" fmla="*/ 0 w 999331"/>
                <a:gd name="connsiteY5" fmla="*/ 152791 h 255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9331" h="255587">
                  <a:moveTo>
                    <a:pt x="0" y="0"/>
                  </a:moveTo>
                  <a:lnTo>
                    <a:pt x="999331" y="0"/>
                  </a:lnTo>
                  <a:lnTo>
                    <a:pt x="999331" y="152791"/>
                  </a:lnTo>
                  <a:cubicBezTo>
                    <a:pt x="999331" y="209564"/>
                    <a:pt x="953308" y="255587"/>
                    <a:pt x="896535" y="255587"/>
                  </a:cubicBezTo>
                  <a:lnTo>
                    <a:pt x="102796" y="255587"/>
                  </a:lnTo>
                  <a:cubicBezTo>
                    <a:pt x="46023" y="255587"/>
                    <a:pt x="0" y="209564"/>
                    <a:pt x="0" y="152791"/>
                  </a:cubicBezTo>
                  <a:close/>
                </a:path>
              </a:pathLst>
            </a:custGeom>
            <a:grpFill/>
            <a:ln w="952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>
                <a:solidFill>
                  <a:schemeClr val="tx1"/>
                </a:solidFill>
              </a:endParaRPr>
            </a:p>
          </p:txBody>
        </p:sp>
        <p:sp>
          <p:nvSpPr>
            <p:cNvPr id="101" name="Freeform 100"/>
            <p:cNvSpPr/>
            <p:nvPr/>
          </p:nvSpPr>
          <p:spPr>
            <a:xfrm flipH="1">
              <a:off x="1235046" y="2455859"/>
              <a:ext cx="1165933" cy="1973160"/>
            </a:xfrm>
            <a:custGeom>
              <a:avLst/>
              <a:gdLst>
                <a:gd name="connsiteX0" fmla="*/ 459277 w 1165933"/>
                <a:gd name="connsiteY0" fmla="*/ 0 h 1973160"/>
                <a:gd name="connsiteX1" fmla="*/ 869013 w 1165933"/>
                <a:gd name="connsiteY1" fmla="*/ 0 h 1973160"/>
                <a:gd name="connsiteX2" fmla="*/ 1053325 w 1165933"/>
                <a:gd name="connsiteY2" fmla="*/ 0 h 1973160"/>
                <a:gd name="connsiteX3" fmla="*/ 1165933 w 1165933"/>
                <a:gd name="connsiteY3" fmla="*/ 0 h 1973160"/>
                <a:gd name="connsiteX4" fmla="*/ 1165933 w 1165933"/>
                <a:gd name="connsiteY4" fmla="*/ 112608 h 1973160"/>
                <a:gd name="connsiteX5" fmla="*/ 1165933 w 1165933"/>
                <a:gd name="connsiteY5" fmla="*/ 365125 h 1973160"/>
                <a:gd name="connsiteX6" fmla="*/ 1165933 w 1165933"/>
                <a:gd name="connsiteY6" fmla="*/ 1184176 h 1973160"/>
                <a:gd name="connsiteX7" fmla="*/ 1110327 w 1165933"/>
                <a:gd name="connsiteY7" fmla="*/ 1195402 h 1973160"/>
                <a:gd name="connsiteX8" fmla="*/ 999187 w 1165933"/>
                <a:gd name="connsiteY8" fmla="*/ 1363073 h 1973160"/>
                <a:gd name="connsiteX9" fmla="*/ 999187 w 1165933"/>
                <a:gd name="connsiteY9" fmla="*/ 1973160 h 1973160"/>
                <a:gd name="connsiteX10" fmla="*/ 1746 w 1165933"/>
                <a:gd name="connsiteY10" fmla="*/ 1973160 h 1973160"/>
                <a:gd name="connsiteX11" fmla="*/ 1717 w 1165933"/>
                <a:gd name="connsiteY11" fmla="*/ 1970513 h 1973160"/>
                <a:gd name="connsiteX12" fmla="*/ 2238 w 1165933"/>
                <a:gd name="connsiteY12" fmla="*/ 1782766 h 1973160"/>
                <a:gd name="connsiteX13" fmla="*/ 33988 w 1165933"/>
                <a:gd name="connsiteY13" fmla="*/ 1512891 h 1973160"/>
                <a:gd name="connsiteX14" fmla="*/ 103838 w 1165933"/>
                <a:gd name="connsiteY14" fmla="*/ 1277941 h 1973160"/>
                <a:gd name="connsiteX15" fmla="*/ 192738 w 1165933"/>
                <a:gd name="connsiteY15" fmla="*/ 1065216 h 1973160"/>
                <a:gd name="connsiteX16" fmla="*/ 272113 w 1165933"/>
                <a:gd name="connsiteY16" fmla="*/ 852491 h 1973160"/>
                <a:gd name="connsiteX17" fmla="*/ 329263 w 1165933"/>
                <a:gd name="connsiteY17" fmla="*/ 573091 h 1973160"/>
                <a:gd name="connsiteX18" fmla="*/ 342558 w 1165933"/>
                <a:gd name="connsiteY18" fmla="*/ 397077 h 1973160"/>
                <a:gd name="connsiteX19" fmla="*/ 346669 w 1165933"/>
                <a:gd name="connsiteY19" fmla="*/ 314647 h 1973160"/>
                <a:gd name="connsiteX20" fmla="*/ 346669 w 1165933"/>
                <a:gd name="connsiteY20" fmla="*/ 112608 h 1973160"/>
                <a:gd name="connsiteX21" fmla="*/ 459277 w 1165933"/>
                <a:gd name="connsiteY21" fmla="*/ 0 h 1973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65933" h="1973160">
                  <a:moveTo>
                    <a:pt x="459277" y="0"/>
                  </a:moveTo>
                  <a:lnTo>
                    <a:pt x="869013" y="0"/>
                  </a:lnTo>
                  <a:lnTo>
                    <a:pt x="1053325" y="0"/>
                  </a:lnTo>
                  <a:lnTo>
                    <a:pt x="1165933" y="0"/>
                  </a:lnTo>
                  <a:lnTo>
                    <a:pt x="1165933" y="112608"/>
                  </a:lnTo>
                  <a:lnTo>
                    <a:pt x="1165933" y="365125"/>
                  </a:lnTo>
                  <a:lnTo>
                    <a:pt x="1165933" y="1184176"/>
                  </a:lnTo>
                  <a:lnTo>
                    <a:pt x="1110327" y="1195402"/>
                  </a:lnTo>
                  <a:cubicBezTo>
                    <a:pt x="1045015" y="1223027"/>
                    <a:pt x="999187" y="1287698"/>
                    <a:pt x="999187" y="1363073"/>
                  </a:cubicBezTo>
                  <a:lnTo>
                    <a:pt x="999187" y="1973160"/>
                  </a:lnTo>
                  <a:lnTo>
                    <a:pt x="1746" y="1973160"/>
                  </a:lnTo>
                  <a:lnTo>
                    <a:pt x="1717" y="1970513"/>
                  </a:lnTo>
                  <a:cubicBezTo>
                    <a:pt x="551" y="1916711"/>
                    <a:pt x="-1731" y="1845869"/>
                    <a:pt x="2238" y="1782766"/>
                  </a:cubicBezTo>
                  <a:cubicBezTo>
                    <a:pt x="7530" y="1698628"/>
                    <a:pt x="17055" y="1597028"/>
                    <a:pt x="33988" y="1512891"/>
                  </a:cubicBezTo>
                  <a:cubicBezTo>
                    <a:pt x="50921" y="1428754"/>
                    <a:pt x="77380" y="1352553"/>
                    <a:pt x="103838" y="1277941"/>
                  </a:cubicBezTo>
                  <a:cubicBezTo>
                    <a:pt x="130296" y="1203329"/>
                    <a:pt x="164692" y="1136124"/>
                    <a:pt x="192738" y="1065216"/>
                  </a:cubicBezTo>
                  <a:cubicBezTo>
                    <a:pt x="220784" y="994308"/>
                    <a:pt x="249359" y="934512"/>
                    <a:pt x="272113" y="852491"/>
                  </a:cubicBezTo>
                  <a:cubicBezTo>
                    <a:pt x="294867" y="770470"/>
                    <a:pt x="316034" y="673103"/>
                    <a:pt x="329263" y="573091"/>
                  </a:cubicBezTo>
                  <a:cubicBezTo>
                    <a:pt x="335877" y="523085"/>
                    <a:pt x="339582" y="457468"/>
                    <a:pt x="342558" y="397077"/>
                  </a:cubicBezTo>
                  <a:lnTo>
                    <a:pt x="346669" y="314647"/>
                  </a:lnTo>
                  <a:lnTo>
                    <a:pt x="346669" y="112608"/>
                  </a:lnTo>
                  <a:cubicBezTo>
                    <a:pt x="346669" y="50416"/>
                    <a:pt x="397085" y="0"/>
                    <a:pt x="459277" y="0"/>
                  </a:cubicBezTo>
                  <a:close/>
                </a:path>
              </a:pathLst>
            </a:custGeom>
            <a:grpFill/>
            <a:ln w="952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>
                <a:solidFill>
                  <a:schemeClr val="tx1"/>
                </a:solidFill>
              </a:endParaRPr>
            </a:p>
          </p:txBody>
        </p:sp>
      </p:grpSp>
      <p:sp>
        <p:nvSpPr>
          <p:cNvPr id="102" name="Freeform 173"/>
          <p:cNvSpPr>
            <a:spLocks noEditPoints="1"/>
          </p:cNvSpPr>
          <p:nvPr/>
        </p:nvSpPr>
        <p:spPr bwMode="auto">
          <a:xfrm>
            <a:off x="8861664" y="2949054"/>
            <a:ext cx="708977" cy="485600"/>
          </a:xfrm>
          <a:custGeom>
            <a:avLst/>
            <a:gdLst>
              <a:gd name="T0" fmla="*/ 265 w 273"/>
              <a:gd name="T1" fmla="*/ 42 h 187"/>
              <a:gd name="T2" fmla="*/ 228 w 273"/>
              <a:gd name="T3" fmla="*/ 42 h 187"/>
              <a:gd name="T4" fmla="*/ 268 w 273"/>
              <a:gd name="T5" fmla="*/ 8 h 187"/>
              <a:gd name="T6" fmla="*/ 265 w 273"/>
              <a:gd name="T7" fmla="*/ 0 h 187"/>
              <a:gd name="T8" fmla="*/ 80 w 273"/>
              <a:gd name="T9" fmla="*/ 0 h 187"/>
              <a:gd name="T10" fmla="*/ 58 w 273"/>
              <a:gd name="T11" fmla="*/ 8 h 187"/>
              <a:gd name="T12" fmla="*/ 5 w 273"/>
              <a:gd name="T13" fmla="*/ 53 h 187"/>
              <a:gd name="T14" fmla="*/ 8 w 273"/>
              <a:gd name="T15" fmla="*/ 61 h 187"/>
              <a:gd name="T16" fmla="*/ 45 w 273"/>
              <a:gd name="T17" fmla="*/ 61 h 187"/>
              <a:gd name="T18" fmla="*/ 5 w 273"/>
              <a:gd name="T19" fmla="*/ 95 h 187"/>
              <a:gd name="T20" fmla="*/ 8 w 273"/>
              <a:gd name="T21" fmla="*/ 103 h 187"/>
              <a:gd name="T22" fmla="*/ 45 w 273"/>
              <a:gd name="T23" fmla="*/ 103 h 187"/>
              <a:gd name="T24" fmla="*/ 5 w 273"/>
              <a:gd name="T25" fmla="*/ 137 h 187"/>
              <a:gd name="T26" fmla="*/ 8 w 273"/>
              <a:gd name="T27" fmla="*/ 145 h 187"/>
              <a:gd name="T28" fmla="*/ 45 w 273"/>
              <a:gd name="T29" fmla="*/ 145 h 187"/>
              <a:gd name="T30" fmla="*/ 5 w 273"/>
              <a:gd name="T31" fmla="*/ 179 h 187"/>
              <a:gd name="T32" fmla="*/ 8 w 273"/>
              <a:gd name="T33" fmla="*/ 187 h 187"/>
              <a:gd name="T34" fmla="*/ 193 w 273"/>
              <a:gd name="T35" fmla="*/ 187 h 187"/>
              <a:gd name="T36" fmla="*/ 215 w 273"/>
              <a:gd name="T37" fmla="*/ 179 h 187"/>
              <a:gd name="T38" fmla="*/ 268 w 273"/>
              <a:gd name="T39" fmla="*/ 134 h 187"/>
              <a:gd name="T40" fmla="*/ 265 w 273"/>
              <a:gd name="T41" fmla="*/ 126 h 187"/>
              <a:gd name="T42" fmla="*/ 228 w 273"/>
              <a:gd name="T43" fmla="*/ 126 h 187"/>
              <a:gd name="T44" fmla="*/ 268 w 273"/>
              <a:gd name="T45" fmla="*/ 92 h 187"/>
              <a:gd name="T46" fmla="*/ 265 w 273"/>
              <a:gd name="T47" fmla="*/ 84 h 187"/>
              <a:gd name="T48" fmla="*/ 228 w 273"/>
              <a:gd name="T49" fmla="*/ 84 h 187"/>
              <a:gd name="T50" fmla="*/ 268 w 273"/>
              <a:gd name="T51" fmla="*/ 50 h 187"/>
              <a:gd name="T52" fmla="*/ 265 w 273"/>
              <a:gd name="T53" fmla="*/ 42 h 187"/>
              <a:gd name="T54" fmla="*/ 206 w 273"/>
              <a:gd name="T55" fmla="*/ 169 h 187"/>
              <a:gd name="T56" fmla="*/ 193 w 273"/>
              <a:gd name="T57" fmla="*/ 173 h 187"/>
              <a:gd name="T58" fmla="*/ 33 w 273"/>
              <a:gd name="T59" fmla="*/ 173 h 187"/>
              <a:gd name="T60" fmla="*/ 67 w 273"/>
              <a:gd name="T61" fmla="*/ 145 h 187"/>
              <a:gd name="T62" fmla="*/ 193 w 273"/>
              <a:gd name="T63" fmla="*/ 145 h 187"/>
              <a:gd name="T64" fmla="*/ 211 w 273"/>
              <a:gd name="T65" fmla="*/ 140 h 187"/>
              <a:gd name="T66" fmla="*/ 240 w 273"/>
              <a:gd name="T67" fmla="*/ 140 h 187"/>
              <a:gd name="T68" fmla="*/ 206 w 273"/>
              <a:gd name="T69" fmla="*/ 169 h 187"/>
              <a:gd name="T70" fmla="*/ 206 w 273"/>
              <a:gd name="T71" fmla="*/ 85 h 187"/>
              <a:gd name="T72" fmla="*/ 193 w 273"/>
              <a:gd name="T73" fmla="*/ 89 h 187"/>
              <a:gd name="T74" fmla="*/ 33 w 273"/>
              <a:gd name="T75" fmla="*/ 89 h 187"/>
              <a:gd name="T76" fmla="*/ 67 w 273"/>
              <a:gd name="T77" fmla="*/ 61 h 187"/>
              <a:gd name="T78" fmla="*/ 193 w 273"/>
              <a:gd name="T79" fmla="*/ 61 h 187"/>
              <a:gd name="T80" fmla="*/ 211 w 273"/>
              <a:gd name="T81" fmla="*/ 56 h 187"/>
              <a:gd name="T82" fmla="*/ 240 w 273"/>
              <a:gd name="T83" fmla="*/ 56 h 187"/>
              <a:gd name="T84" fmla="*/ 206 w 273"/>
              <a:gd name="T85" fmla="*/ 85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73" h="187">
                <a:moveTo>
                  <a:pt x="265" y="42"/>
                </a:moveTo>
                <a:cubicBezTo>
                  <a:pt x="228" y="42"/>
                  <a:pt x="228" y="42"/>
                  <a:pt x="228" y="42"/>
                </a:cubicBezTo>
                <a:cubicBezTo>
                  <a:pt x="268" y="8"/>
                  <a:pt x="268" y="8"/>
                  <a:pt x="268" y="8"/>
                </a:cubicBezTo>
                <a:cubicBezTo>
                  <a:pt x="273" y="4"/>
                  <a:pt x="272" y="0"/>
                  <a:pt x="265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3" y="0"/>
                  <a:pt x="63" y="4"/>
                  <a:pt x="58" y="8"/>
                </a:cubicBezTo>
                <a:cubicBezTo>
                  <a:pt x="5" y="53"/>
                  <a:pt x="5" y="53"/>
                  <a:pt x="5" y="53"/>
                </a:cubicBezTo>
                <a:cubicBezTo>
                  <a:pt x="0" y="58"/>
                  <a:pt x="1" y="61"/>
                  <a:pt x="8" y="61"/>
                </a:cubicBezTo>
                <a:cubicBezTo>
                  <a:pt x="45" y="61"/>
                  <a:pt x="45" y="61"/>
                  <a:pt x="45" y="61"/>
                </a:cubicBezTo>
                <a:cubicBezTo>
                  <a:pt x="5" y="95"/>
                  <a:pt x="5" y="95"/>
                  <a:pt x="5" y="95"/>
                </a:cubicBezTo>
                <a:cubicBezTo>
                  <a:pt x="0" y="100"/>
                  <a:pt x="1" y="103"/>
                  <a:pt x="8" y="103"/>
                </a:cubicBezTo>
                <a:cubicBezTo>
                  <a:pt x="45" y="103"/>
                  <a:pt x="45" y="103"/>
                  <a:pt x="45" y="103"/>
                </a:cubicBezTo>
                <a:cubicBezTo>
                  <a:pt x="5" y="137"/>
                  <a:pt x="5" y="137"/>
                  <a:pt x="5" y="137"/>
                </a:cubicBezTo>
                <a:cubicBezTo>
                  <a:pt x="0" y="142"/>
                  <a:pt x="1" y="145"/>
                  <a:pt x="8" y="145"/>
                </a:cubicBezTo>
                <a:cubicBezTo>
                  <a:pt x="45" y="145"/>
                  <a:pt x="45" y="145"/>
                  <a:pt x="45" y="145"/>
                </a:cubicBezTo>
                <a:cubicBezTo>
                  <a:pt x="5" y="179"/>
                  <a:pt x="5" y="179"/>
                  <a:pt x="5" y="179"/>
                </a:cubicBezTo>
                <a:cubicBezTo>
                  <a:pt x="0" y="184"/>
                  <a:pt x="1" y="187"/>
                  <a:pt x="8" y="187"/>
                </a:cubicBezTo>
                <a:cubicBezTo>
                  <a:pt x="193" y="187"/>
                  <a:pt x="193" y="187"/>
                  <a:pt x="193" y="187"/>
                </a:cubicBezTo>
                <a:cubicBezTo>
                  <a:pt x="200" y="187"/>
                  <a:pt x="210" y="184"/>
                  <a:pt x="215" y="179"/>
                </a:cubicBezTo>
                <a:cubicBezTo>
                  <a:pt x="268" y="134"/>
                  <a:pt x="268" y="134"/>
                  <a:pt x="268" y="134"/>
                </a:cubicBezTo>
                <a:cubicBezTo>
                  <a:pt x="273" y="130"/>
                  <a:pt x="272" y="126"/>
                  <a:pt x="265" y="126"/>
                </a:cubicBezTo>
                <a:cubicBezTo>
                  <a:pt x="228" y="126"/>
                  <a:pt x="228" y="126"/>
                  <a:pt x="228" y="126"/>
                </a:cubicBezTo>
                <a:cubicBezTo>
                  <a:pt x="268" y="92"/>
                  <a:pt x="268" y="92"/>
                  <a:pt x="268" y="92"/>
                </a:cubicBezTo>
                <a:cubicBezTo>
                  <a:pt x="273" y="88"/>
                  <a:pt x="272" y="84"/>
                  <a:pt x="265" y="84"/>
                </a:cubicBezTo>
                <a:cubicBezTo>
                  <a:pt x="228" y="84"/>
                  <a:pt x="228" y="84"/>
                  <a:pt x="228" y="84"/>
                </a:cubicBezTo>
                <a:cubicBezTo>
                  <a:pt x="268" y="50"/>
                  <a:pt x="268" y="50"/>
                  <a:pt x="268" y="50"/>
                </a:cubicBezTo>
                <a:cubicBezTo>
                  <a:pt x="273" y="46"/>
                  <a:pt x="272" y="42"/>
                  <a:pt x="265" y="42"/>
                </a:cubicBezTo>
                <a:close/>
                <a:moveTo>
                  <a:pt x="206" y="169"/>
                </a:moveTo>
                <a:cubicBezTo>
                  <a:pt x="204" y="171"/>
                  <a:pt x="197" y="173"/>
                  <a:pt x="193" y="173"/>
                </a:cubicBezTo>
                <a:cubicBezTo>
                  <a:pt x="33" y="173"/>
                  <a:pt x="33" y="173"/>
                  <a:pt x="33" y="173"/>
                </a:cubicBezTo>
                <a:cubicBezTo>
                  <a:pt x="67" y="145"/>
                  <a:pt x="67" y="145"/>
                  <a:pt x="67" y="145"/>
                </a:cubicBezTo>
                <a:cubicBezTo>
                  <a:pt x="193" y="145"/>
                  <a:pt x="193" y="145"/>
                  <a:pt x="193" y="145"/>
                </a:cubicBezTo>
                <a:cubicBezTo>
                  <a:pt x="198" y="145"/>
                  <a:pt x="205" y="143"/>
                  <a:pt x="211" y="140"/>
                </a:cubicBezTo>
                <a:cubicBezTo>
                  <a:pt x="240" y="140"/>
                  <a:pt x="240" y="140"/>
                  <a:pt x="240" y="140"/>
                </a:cubicBezTo>
                <a:lnTo>
                  <a:pt x="206" y="169"/>
                </a:lnTo>
                <a:close/>
                <a:moveTo>
                  <a:pt x="206" y="85"/>
                </a:moveTo>
                <a:cubicBezTo>
                  <a:pt x="204" y="87"/>
                  <a:pt x="197" y="89"/>
                  <a:pt x="193" y="89"/>
                </a:cubicBezTo>
                <a:cubicBezTo>
                  <a:pt x="33" y="89"/>
                  <a:pt x="33" y="89"/>
                  <a:pt x="33" y="89"/>
                </a:cubicBezTo>
                <a:cubicBezTo>
                  <a:pt x="67" y="61"/>
                  <a:pt x="67" y="61"/>
                  <a:pt x="67" y="61"/>
                </a:cubicBezTo>
                <a:cubicBezTo>
                  <a:pt x="193" y="61"/>
                  <a:pt x="193" y="61"/>
                  <a:pt x="193" y="61"/>
                </a:cubicBezTo>
                <a:cubicBezTo>
                  <a:pt x="198" y="61"/>
                  <a:pt x="205" y="59"/>
                  <a:pt x="211" y="56"/>
                </a:cubicBezTo>
                <a:cubicBezTo>
                  <a:pt x="240" y="56"/>
                  <a:pt x="240" y="56"/>
                  <a:pt x="240" y="56"/>
                </a:cubicBezTo>
                <a:lnTo>
                  <a:pt x="206" y="8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endParaRPr lang="de-DE" sz="2091" dirty="0"/>
          </a:p>
        </p:txBody>
      </p:sp>
      <p:grpSp>
        <p:nvGrpSpPr>
          <p:cNvPr id="61" name="Group 60"/>
          <p:cNvGrpSpPr/>
          <p:nvPr/>
        </p:nvGrpSpPr>
        <p:grpSpPr>
          <a:xfrm>
            <a:off x="7571347" y="2977356"/>
            <a:ext cx="530600" cy="428997"/>
            <a:chOff x="9479280" y="1324875"/>
            <a:chExt cx="4770120" cy="3856725"/>
          </a:xfrm>
          <a:solidFill>
            <a:schemeClr val="accent4"/>
          </a:solidFill>
        </p:grpSpPr>
        <p:sp>
          <p:nvSpPr>
            <p:cNvPr id="62" name="Freeform 61"/>
            <p:cNvSpPr/>
            <p:nvPr/>
          </p:nvSpPr>
          <p:spPr>
            <a:xfrm>
              <a:off x="9479280" y="1324875"/>
              <a:ext cx="4770120" cy="1214629"/>
            </a:xfrm>
            <a:custGeom>
              <a:avLst/>
              <a:gdLst>
                <a:gd name="connsiteX0" fmla="*/ 4480560 w 4770120"/>
                <a:gd name="connsiteY0" fmla="*/ 0 h 777240"/>
                <a:gd name="connsiteX1" fmla="*/ 4770120 w 4770120"/>
                <a:gd name="connsiteY1" fmla="*/ 777240 h 777240"/>
                <a:gd name="connsiteX2" fmla="*/ 3543300 w 4770120"/>
                <a:gd name="connsiteY2" fmla="*/ 640080 h 777240"/>
                <a:gd name="connsiteX3" fmla="*/ 1226820 w 4770120"/>
                <a:gd name="connsiteY3" fmla="*/ 640080 h 777240"/>
                <a:gd name="connsiteX4" fmla="*/ 0 w 4770120"/>
                <a:gd name="connsiteY4" fmla="*/ 777240 h 777240"/>
                <a:gd name="connsiteX5" fmla="*/ 281940 w 4770120"/>
                <a:gd name="connsiteY5" fmla="*/ 0 h 777240"/>
                <a:gd name="connsiteX6" fmla="*/ 4480560 w 4770120"/>
                <a:gd name="connsiteY6" fmla="*/ 0 h 777240"/>
                <a:gd name="connsiteX0" fmla="*/ 4480560 w 4770120"/>
                <a:gd name="connsiteY0" fmla="*/ 0 h 777240"/>
                <a:gd name="connsiteX1" fmla="*/ 4770120 w 4770120"/>
                <a:gd name="connsiteY1" fmla="*/ 777240 h 777240"/>
                <a:gd name="connsiteX2" fmla="*/ 3543300 w 4770120"/>
                <a:gd name="connsiteY2" fmla="*/ 640080 h 777240"/>
                <a:gd name="connsiteX3" fmla="*/ 1226820 w 4770120"/>
                <a:gd name="connsiteY3" fmla="*/ 640080 h 777240"/>
                <a:gd name="connsiteX4" fmla="*/ 0 w 4770120"/>
                <a:gd name="connsiteY4" fmla="*/ 777240 h 777240"/>
                <a:gd name="connsiteX5" fmla="*/ 281940 w 4770120"/>
                <a:gd name="connsiteY5" fmla="*/ 0 h 777240"/>
                <a:gd name="connsiteX6" fmla="*/ 4480560 w 4770120"/>
                <a:gd name="connsiteY6" fmla="*/ 0 h 777240"/>
                <a:gd name="connsiteX0" fmla="*/ 4480560 w 4770120"/>
                <a:gd name="connsiteY0" fmla="*/ 0 h 777240"/>
                <a:gd name="connsiteX1" fmla="*/ 4770120 w 4770120"/>
                <a:gd name="connsiteY1" fmla="*/ 777240 h 777240"/>
                <a:gd name="connsiteX2" fmla="*/ 3543300 w 4770120"/>
                <a:gd name="connsiteY2" fmla="*/ 640080 h 777240"/>
                <a:gd name="connsiteX3" fmla="*/ 1226820 w 4770120"/>
                <a:gd name="connsiteY3" fmla="*/ 640080 h 777240"/>
                <a:gd name="connsiteX4" fmla="*/ 0 w 4770120"/>
                <a:gd name="connsiteY4" fmla="*/ 777240 h 777240"/>
                <a:gd name="connsiteX5" fmla="*/ 281940 w 4770120"/>
                <a:gd name="connsiteY5" fmla="*/ 0 h 777240"/>
                <a:gd name="connsiteX6" fmla="*/ 4480560 w 4770120"/>
                <a:gd name="connsiteY6" fmla="*/ 0 h 777240"/>
                <a:gd name="connsiteX0" fmla="*/ 4480560 w 4770120"/>
                <a:gd name="connsiteY0" fmla="*/ 186266 h 963506"/>
                <a:gd name="connsiteX1" fmla="*/ 4770120 w 4770120"/>
                <a:gd name="connsiteY1" fmla="*/ 963506 h 963506"/>
                <a:gd name="connsiteX2" fmla="*/ 3543300 w 4770120"/>
                <a:gd name="connsiteY2" fmla="*/ 826346 h 963506"/>
                <a:gd name="connsiteX3" fmla="*/ 1226820 w 4770120"/>
                <a:gd name="connsiteY3" fmla="*/ 826346 h 963506"/>
                <a:gd name="connsiteX4" fmla="*/ 0 w 4770120"/>
                <a:gd name="connsiteY4" fmla="*/ 963506 h 963506"/>
                <a:gd name="connsiteX5" fmla="*/ 281940 w 4770120"/>
                <a:gd name="connsiteY5" fmla="*/ 186266 h 963506"/>
                <a:gd name="connsiteX6" fmla="*/ 4480560 w 4770120"/>
                <a:gd name="connsiteY6" fmla="*/ 186266 h 963506"/>
                <a:gd name="connsiteX0" fmla="*/ 4480560 w 4770120"/>
                <a:gd name="connsiteY0" fmla="*/ 337571 h 1114811"/>
                <a:gd name="connsiteX1" fmla="*/ 4770120 w 4770120"/>
                <a:gd name="connsiteY1" fmla="*/ 1114811 h 1114811"/>
                <a:gd name="connsiteX2" fmla="*/ 3543300 w 4770120"/>
                <a:gd name="connsiteY2" fmla="*/ 977651 h 1114811"/>
                <a:gd name="connsiteX3" fmla="*/ 1226820 w 4770120"/>
                <a:gd name="connsiteY3" fmla="*/ 977651 h 1114811"/>
                <a:gd name="connsiteX4" fmla="*/ 0 w 4770120"/>
                <a:gd name="connsiteY4" fmla="*/ 1114811 h 1114811"/>
                <a:gd name="connsiteX5" fmla="*/ 281940 w 4770120"/>
                <a:gd name="connsiteY5" fmla="*/ 337571 h 1114811"/>
                <a:gd name="connsiteX6" fmla="*/ 4480560 w 4770120"/>
                <a:gd name="connsiteY6" fmla="*/ 337571 h 1114811"/>
                <a:gd name="connsiteX0" fmla="*/ 4480560 w 4770120"/>
                <a:gd name="connsiteY0" fmla="*/ 351524 h 1128764"/>
                <a:gd name="connsiteX1" fmla="*/ 4770120 w 4770120"/>
                <a:gd name="connsiteY1" fmla="*/ 1128764 h 1128764"/>
                <a:gd name="connsiteX2" fmla="*/ 3543300 w 4770120"/>
                <a:gd name="connsiteY2" fmla="*/ 991604 h 1128764"/>
                <a:gd name="connsiteX3" fmla="*/ 1226820 w 4770120"/>
                <a:gd name="connsiteY3" fmla="*/ 991604 h 1128764"/>
                <a:gd name="connsiteX4" fmla="*/ 0 w 4770120"/>
                <a:gd name="connsiteY4" fmla="*/ 1128764 h 1128764"/>
                <a:gd name="connsiteX5" fmla="*/ 281940 w 4770120"/>
                <a:gd name="connsiteY5" fmla="*/ 351524 h 1128764"/>
                <a:gd name="connsiteX6" fmla="*/ 4480560 w 4770120"/>
                <a:gd name="connsiteY6" fmla="*/ 351524 h 1128764"/>
                <a:gd name="connsiteX0" fmla="*/ 4480560 w 4770120"/>
                <a:gd name="connsiteY0" fmla="*/ 351524 h 1128764"/>
                <a:gd name="connsiteX1" fmla="*/ 4770120 w 4770120"/>
                <a:gd name="connsiteY1" fmla="*/ 1128764 h 1128764"/>
                <a:gd name="connsiteX2" fmla="*/ 3543300 w 4770120"/>
                <a:gd name="connsiteY2" fmla="*/ 991604 h 1128764"/>
                <a:gd name="connsiteX3" fmla="*/ 1226820 w 4770120"/>
                <a:gd name="connsiteY3" fmla="*/ 991604 h 1128764"/>
                <a:gd name="connsiteX4" fmla="*/ 0 w 4770120"/>
                <a:gd name="connsiteY4" fmla="*/ 1128764 h 1128764"/>
                <a:gd name="connsiteX5" fmla="*/ 281940 w 4770120"/>
                <a:gd name="connsiteY5" fmla="*/ 351524 h 1128764"/>
                <a:gd name="connsiteX6" fmla="*/ 4480560 w 4770120"/>
                <a:gd name="connsiteY6" fmla="*/ 351524 h 1128764"/>
                <a:gd name="connsiteX0" fmla="*/ 4480560 w 4770120"/>
                <a:gd name="connsiteY0" fmla="*/ 351524 h 1128764"/>
                <a:gd name="connsiteX1" fmla="*/ 4770120 w 4770120"/>
                <a:gd name="connsiteY1" fmla="*/ 1128764 h 1128764"/>
                <a:gd name="connsiteX2" fmla="*/ 3543300 w 4770120"/>
                <a:gd name="connsiteY2" fmla="*/ 991604 h 1128764"/>
                <a:gd name="connsiteX3" fmla="*/ 1226820 w 4770120"/>
                <a:gd name="connsiteY3" fmla="*/ 991604 h 1128764"/>
                <a:gd name="connsiteX4" fmla="*/ 0 w 4770120"/>
                <a:gd name="connsiteY4" fmla="*/ 1128764 h 1128764"/>
                <a:gd name="connsiteX5" fmla="*/ 281940 w 4770120"/>
                <a:gd name="connsiteY5" fmla="*/ 351524 h 1128764"/>
                <a:gd name="connsiteX6" fmla="*/ 4480560 w 4770120"/>
                <a:gd name="connsiteY6" fmla="*/ 351524 h 1128764"/>
                <a:gd name="connsiteX0" fmla="*/ 4480560 w 4770120"/>
                <a:gd name="connsiteY0" fmla="*/ 351524 h 1165908"/>
                <a:gd name="connsiteX1" fmla="*/ 4770120 w 4770120"/>
                <a:gd name="connsiteY1" fmla="*/ 1128764 h 1165908"/>
                <a:gd name="connsiteX2" fmla="*/ 3543300 w 4770120"/>
                <a:gd name="connsiteY2" fmla="*/ 991604 h 1165908"/>
                <a:gd name="connsiteX3" fmla="*/ 1226820 w 4770120"/>
                <a:gd name="connsiteY3" fmla="*/ 991604 h 1165908"/>
                <a:gd name="connsiteX4" fmla="*/ 0 w 4770120"/>
                <a:gd name="connsiteY4" fmla="*/ 1128764 h 1165908"/>
                <a:gd name="connsiteX5" fmla="*/ 281940 w 4770120"/>
                <a:gd name="connsiteY5" fmla="*/ 351524 h 1165908"/>
                <a:gd name="connsiteX6" fmla="*/ 4480560 w 4770120"/>
                <a:gd name="connsiteY6" fmla="*/ 351524 h 1165908"/>
                <a:gd name="connsiteX0" fmla="*/ 4480560 w 4770120"/>
                <a:gd name="connsiteY0" fmla="*/ 351524 h 1184758"/>
                <a:gd name="connsiteX1" fmla="*/ 4770120 w 4770120"/>
                <a:gd name="connsiteY1" fmla="*/ 1128764 h 1184758"/>
                <a:gd name="connsiteX2" fmla="*/ 3543300 w 4770120"/>
                <a:gd name="connsiteY2" fmla="*/ 991604 h 1184758"/>
                <a:gd name="connsiteX3" fmla="*/ 1226820 w 4770120"/>
                <a:gd name="connsiteY3" fmla="*/ 991604 h 1184758"/>
                <a:gd name="connsiteX4" fmla="*/ 0 w 4770120"/>
                <a:gd name="connsiteY4" fmla="*/ 1128764 h 1184758"/>
                <a:gd name="connsiteX5" fmla="*/ 281940 w 4770120"/>
                <a:gd name="connsiteY5" fmla="*/ 351524 h 1184758"/>
                <a:gd name="connsiteX6" fmla="*/ 4480560 w 4770120"/>
                <a:gd name="connsiteY6" fmla="*/ 351524 h 1184758"/>
                <a:gd name="connsiteX0" fmla="*/ 4480560 w 4770120"/>
                <a:gd name="connsiteY0" fmla="*/ 351524 h 1184758"/>
                <a:gd name="connsiteX1" fmla="*/ 4770120 w 4770120"/>
                <a:gd name="connsiteY1" fmla="*/ 1128764 h 1184758"/>
                <a:gd name="connsiteX2" fmla="*/ 3543300 w 4770120"/>
                <a:gd name="connsiteY2" fmla="*/ 991604 h 1184758"/>
                <a:gd name="connsiteX3" fmla="*/ 1226820 w 4770120"/>
                <a:gd name="connsiteY3" fmla="*/ 991604 h 1184758"/>
                <a:gd name="connsiteX4" fmla="*/ 0 w 4770120"/>
                <a:gd name="connsiteY4" fmla="*/ 1128764 h 1184758"/>
                <a:gd name="connsiteX5" fmla="*/ 281940 w 4770120"/>
                <a:gd name="connsiteY5" fmla="*/ 351524 h 1184758"/>
                <a:gd name="connsiteX6" fmla="*/ 4480560 w 4770120"/>
                <a:gd name="connsiteY6" fmla="*/ 351524 h 1184758"/>
                <a:gd name="connsiteX0" fmla="*/ 4480560 w 4770120"/>
                <a:gd name="connsiteY0" fmla="*/ 351524 h 1214629"/>
                <a:gd name="connsiteX1" fmla="*/ 4770120 w 4770120"/>
                <a:gd name="connsiteY1" fmla="*/ 1128764 h 1214629"/>
                <a:gd name="connsiteX2" fmla="*/ 3543300 w 4770120"/>
                <a:gd name="connsiteY2" fmla="*/ 991604 h 1214629"/>
                <a:gd name="connsiteX3" fmla="*/ 1226820 w 4770120"/>
                <a:gd name="connsiteY3" fmla="*/ 991604 h 1214629"/>
                <a:gd name="connsiteX4" fmla="*/ 0 w 4770120"/>
                <a:gd name="connsiteY4" fmla="*/ 1128764 h 1214629"/>
                <a:gd name="connsiteX5" fmla="*/ 281940 w 4770120"/>
                <a:gd name="connsiteY5" fmla="*/ 351524 h 1214629"/>
                <a:gd name="connsiteX6" fmla="*/ 4480560 w 4770120"/>
                <a:gd name="connsiteY6" fmla="*/ 351524 h 1214629"/>
                <a:gd name="connsiteX0" fmla="*/ 4480560 w 4770120"/>
                <a:gd name="connsiteY0" fmla="*/ 351524 h 1214629"/>
                <a:gd name="connsiteX1" fmla="*/ 4770120 w 4770120"/>
                <a:gd name="connsiteY1" fmla="*/ 1128764 h 1214629"/>
                <a:gd name="connsiteX2" fmla="*/ 3543300 w 4770120"/>
                <a:gd name="connsiteY2" fmla="*/ 991604 h 1214629"/>
                <a:gd name="connsiteX3" fmla="*/ 2339340 w 4770120"/>
                <a:gd name="connsiteY3" fmla="*/ 549645 h 1214629"/>
                <a:gd name="connsiteX4" fmla="*/ 1226820 w 4770120"/>
                <a:gd name="connsiteY4" fmla="*/ 991604 h 1214629"/>
                <a:gd name="connsiteX5" fmla="*/ 0 w 4770120"/>
                <a:gd name="connsiteY5" fmla="*/ 1128764 h 1214629"/>
                <a:gd name="connsiteX6" fmla="*/ 281940 w 4770120"/>
                <a:gd name="connsiteY6" fmla="*/ 351524 h 1214629"/>
                <a:gd name="connsiteX7" fmla="*/ 4480560 w 4770120"/>
                <a:gd name="connsiteY7" fmla="*/ 351524 h 1214629"/>
                <a:gd name="connsiteX0" fmla="*/ 4480560 w 4770120"/>
                <a:gd name="connsiteY0" fmla="*/ 351524 h 1214629"/>
                <a:gd name="connsiteX1" fmla="*/ 4770120 w 4770120"/>
                <a:gd name="connsiteY1" fmla="*/ 1128764 h 1214629"/>
                <a:gd name="connsiteX2" fmla="*/ 3543300 w 4770120"/>
                <a:gd name="connsiteY2" fmla="*/ 991604 h 1214629"/>
                <a:gd name="connsiteX3" fmla="*/ 2339340 w 4770120"/>
                <a:gd name="connsiteY3" fmla="*/ 549645 h 1214629"/>
                <a:gd name="connsiteX4" fmla="*/ 1226820 w 4770120"/>
                <a:gd name="connsiteY4" fmla="*/ 991604 h 1214629"/>
                <a:gd name="connsiteX5" fmla="*/ 0 w 4770120"/>
                <a:gd name="connsiteY5" fmla="*/ 1128764 h 1214629"/>
                <a:gd name="connsiteX6" fmla="*/ 281940 w 4770120"/>
                <a:gd name="connsiteY6" fmla="*/ 351524 h 1214629"/>
                <a:gd name="connsiteX7" fmla="*/ 4480560 w 4770120"/>
                <a:gd name="connsiteY7" fmla="*/ 351524 h 1214629"/>
                <a:gd name="connsiteX0" fmla="*/ 4480560 w 4770120"/>
                <a:gd name="connsiteY0" fmla="*/ 351524 h 1214629"/>
                <a:gd name="connsiteX1" fmla="*/ 4770120 w 4770120"/>
                <a:gd name="connsiteY1" fmla="*/ 1128764 h 1214629"/>
                <a:gd name="connsiteX2" fmla="*/ 3543300 w 4770120"/>
                <a:gd name="connsiteY2" fmla="*/ 991604 h 1214629"/>
                <a:gd name="connsiteX3" fmla="*/ 2339340 w 4770120"/>
                <a:gd name="connsiteY3" fmla="*/ 549645 h 1214629"/>
                <a:gd name="connsiteX4" fmla="*/ 1226820 w 4770120"/>
                <a:gd name="connsiteY4" fmla="*/ 991604 h 1214629"/>
                <a:gd name="connsiteX5" fmla="*/ 0 w 4770120"/>
                <a:gd name="connsiteY5" fmla="*/ 1128764 h 1214629"/>
                <a:gd name="connsiteX6" fmla="*/ 281940 w 4770120"/>
                <a:gd name="connsiteY6" fmla="*/ 351524 h 1214629"/>
                <a:gd name="connsiteX7" fmla="*/ 4480560 w 4770120"/>
                <a:gd name="connsiteY7" fmla="*/ 351524 h 1214629"/>
                <a:gd name="connsiteX0" fmla="*/ 4480560 w 4770120"/>
                <a:gd name="connsiteY0" fmla="*/ 351524 h 1214629"/>
                <a:gd name="connsiteX1" fmla="*/ 4770120 w 4770120"/>
                <a:gd name="connsiteY1" fmla="*/ 1128764 h 1214629"/>
                <a:gd name="connsiteX2" fmla="*/ 3543300 w 4770120"/>
                <a:gd name="connsiteY2" fmla="*/ 991604 h 1214629"/>
                <a:gd name="connsiteX3" fmla="*/ 2339340 w 4770120"/>
                <a:gd name="connsiteY3" fmla="*/ 549645 h 1214629"/>
                <a:gd name="connsiteX4" fmla="*/ 1226820 w 4770120"/>
                <a:gd name="connsiteY4" fmla="*/ 991604 h 1214629"/>
                <a:gd name="connsiteX5" fmla="*/ 0 w 4770120"/>
                <a:gd name="connsiteY5" fmla="*/ 1128764 h 1214629"/>
                <a:gd name="connsiteX6" fmla="*/ 281940 w 4770120"/>
                <a:gd name="connsiteY6" fmla="*/ 351524 h 1214629"/>
                <a:gd name="connsiteX7" fmla="*/ 4480560 w 4770120"/>
                <a:gd name="connsiteY7" fmla="*/ 351524 h 1214629"/>
                <a:gd name="connsiteX0" fmla="*/ 4480560 w 4770120"/>
                <a:gd name="connsiteY0" fmla="*/ 351524 h 1214629"/>
                <a:gd name="connsiteX1" fmla="*/ 4770120 w 4770120"/>
                <a:gd name="connsiteY1" fmla="*/ 1128764 h 1214629"/>
                <a:gd name="connsiteX2" fmla="*/ 3543300 w 4770120"/>
                <a:gd name="connsiteY2" fmla="*/ 991604 h 1214629"/>
                <a:gd name="connsiteX3" fmla="*/ 2339340 w 4770120"/>
                <a:gd name="connsiteY3" fmla="*/ 549645 h 1214629"/>
                <a:gd name="connsiteX4" fmla="*/ 1226820 w 4770120"/>
                <a:gd name="connsiteY4" fmla="*/ 991604 h 1214629"/>
                <a:gd name="connsiteX5" fmla="*/ 0 w 4770120"/>
                <a:gd name="connsiteY5" fmla="*/ 1128764 h 1214629"/>
                <a:gd name="connsiteX6" fmla="*/ 281940 w 4770120"/>
                <a:gd name="connsiteY6" fmla="*/ 351524 h 1214629"/>
                <a:gd name="connsiteX7" fmla="*/ 4480560 w 4770120"/>
                <a:gd name="connsiteY7" fmla="*/ 351524 h 1214629"/>
                <a:gd name="connsiteX0" fmla="*/ 4480560 w 4770120"/>
                <a:gd name="connsiteY0" fmla="*/ 351524 h 1214629"/>
                <a:gd name="connsiteX1" fmla="*/ 4770120 w 4770120"/>
                <a:gd name="connsiteY1" fmla="*/ 1128764 h 1214629"/>
                <a:gd name="connsiteX2" fmla="*/ 3543300 w 4770120"/>
                <a:gd name="connsiteY2" fmla="*/ 991604 h 1214629"/>
                <a:gd name="connsiteX3" fmla="*/ 2339340 w 4770120"/>
                <a:gd name="connsiteY3" fmla="*/ 549645 h 1214629"/>
                <a:gd name="connsiteX4" fmla="*/ 1226820 w 4770120"/>
                <a:gd name="connsiteY4" fmla="*/ 991604 h 1214629"/>
                <a:gd name="connsiteX5" fmla="*/ 0 w 4770120"/>
                <a:gd name="connsiteY5" fmla="*/ 1128764 h 1214629"/>
                <a:gd name="connsiteX6" fmla="*/ 281940 w 4770120"/>
                <a:gd name="connsiteY6" fmla="*/ 351524 h 1214629"/>
                <a:gd name="connsiteX7" fmla="*/ 4480560 w 4770120"/>
                <a:gd name="connsiteY7" fmla="*/ 351524 h 1214629"/>
                <a:gd name="connsiteX0" fmla="*/ 4480560 w 4770120"/>
                <a:gd name="connsiteY0" fmla="*/ 351524 h 1214629"/>
                <a:gd name="connsiteX1" fmla="*/ 4770120 w 4770120"/>
                <a:gd name="connsiteY1" fmla="*/ 1128764 h 1214629"/>
                <a:gd name="connsiteX2" fmla="*/ 3543300 w 4770120"/>
                <a:gd name="connsiteY2" fmla="*/ 991604 h 1214629"/>
                <a:gd name="connsiteX3" fmla="*/ 2339340 w 4770120"/>
                <a:gd name="connsiteY3" fmla="*/ 549645 h 1214629"/>
                <a:gd name="connsiteX4" fmla="*/ 1226820 w 4770120"/>
                <a:gd name="connsiteY4" fmla="*/ 991604 h 1214629"/>
                <a:gd name="connsiteX5" fmla="*/ 0 w 4770120"/>
                <a:gd name="connsiteY5" fmla="*/ 1128764 h 1214629"/>
                <a:gd name="connsiteX6" fmla="*/ 281940 w 4770120"/>
                <a:gd name="connsiteY6" fmla="*/ 351524 h 1214629"/>
                <a:gd name="connsiteX7" fmla="*/ 4480560 w 4770120"/>
                <a:gd name="connsiteY7" fmla="*/ 351524 h 1214629"/>
                <a:gd name="connsiteX0" fmla="*/ 4480560 w 4770120"/>
                <a:gd name="connsiteY0" fmla="*/ 351524 h 1214629"/>
                <a:gd name="connsiteX1" fmla="*/ 4770120 w 4770120"/>
                <a:gd name="connsiteY1" fmla="*/ 1128764 h 1214629"/>
                <a:gd name="connsiteX2" fmla="*/ 3543300 w 4770120"/>
                <a:gd name="connsiteY2" fmla="*/ 991604 h 1214629"/>
                <a:gd name="connsiteX3" fmla="*/ 2339340 w 4770120"/>
                <a:gd name="connsiteY3" fmla="*/ 549645 h 1214629"/>
                <a:gd name="connsiteX4" fmla="*/ 1226820 w 4770120"/>
                <a:gd name="connsiteY4" fmla="*/ 991604 h 1214629"/>
                <a:gd name="connsiteX5" fmla="*/ 0 w 4770120"/>
                <a:gd name="connsiteY5" fmla="*/ 1128764 h 1214629"/>
                <a:gd name="connsiteX6" fmla="*/ 281940 w 4770120"/>
                <a:gd name="connsiteY6" fmla="*/ 351524 h 1214629"/>
                <a:gd name="connsiteX7" fmla="*/ 4480560 w 4770120"/>
                <a:gd name="connsiteY7" fmla="*/ 351524 h 121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70120" h="1214629">
                  <a:moveTo>
                    <a:pt x="4480560" y="351524"/>
                  </a:moveTo>
                  <a:cubicBezTo>
                    <a:pt x="4645660" y="602984"/>
                    <a:pt x="4734560" y="892544"/>
                    <a:pt x="4770120" y="1128764"/>
                  </a:cubicBezTo>
                  <a:cubicBezTo>
                    <a:pt x="4345940" y="1250684"/>
                    <a:pt x="3883660" y="1159244"/>
                    <a:pt x="3543300" y="991604"/>
                  </a:cubicBezTo>
                  <a:cubicBezTo>
                    <a:pt x="3578860" y="554724"/>
                    <a:pt x="2654300" y="552185"/>
                    <a:pt x="2339340" y="549645"/>
                  </a:cubicBezTo>
                  <a:cubicBezTo>
                    <a:pt x="2044700" y="567425"/>
                    <a:pt x="1216660" y="539484"/>
                    <a:pt x="1226820" y="991604"/>
                  </a:cubicBezTo>
                  <a:cubicBezTo>
                    <a:pt x="787400" y="1227824"/>
                    <a:pt x="431800" y="1281164"/>
                    <a:pt x="0" y="1128764"/>
                  </a:cubicBezTo>
                  <a:cubicBezTo>
                    <a:pt x="25400" y="945884"/>
                    <a:pt x="127000" y="625844"/>
                    <a:pt x="281940" y="351524"/>
                  </a:cubicBezTo>
                  <a:cubicBezTo>
                    <a:pt x="1338580" y="-105676"/>
                    <a:pt x="3271520" y="-128536"/>
                    <a:pt x="4480560" y="351524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7" dirty="0">
                <a:solidFill>
                  <a:schemeClr val="tx1"/>
                </a:solidFill>
              </a:endParaRPr>
            </a:p>
          </p:txBody>
        </p:sp>
        <p:sp>
          <p:nvSpPr>
            <p:cNvPr id="63" name="Freeform 62"/>
            <p:cNvSpPr/>
            <p:nvPr/>
          </p:nvSpPr>
          <p:spPr>
            <a:xfrm>
              <a:off x="13027500" y="2438400"/>
              <a:ext cx="1219956" cy="670560"/>
            </a:xfrm>
            <a:custGeom>
              <a:avLst/>
              <a:gdLst>
                <a:gd name="connsiteX0" fmla="*/ 0 w 1211580"/>
                <a:gd name="connsiteY0" fmla="*/ 0 h 670560"/>
                <a:gd name="connsiteX1" fmla="*/ 1211580 w 1211580"/>
                <a:gd name="connsiteY1" fmla="*/ 137160 h 670560"/>
                <a:gd name="connsiteX2" fmla="*/ 716280 w 1211580"/>
                <a:gd name="connsiteY2" fmla="*/ 670560 h 670560"/>
                <a:gd name="connsiteX3" fmla="*/ 0 w 1211580"/>
                <a:gd name="connsiteY3" fmla="*/ 0 h 670560"/>
                <a:gd name="connsiteX0" fmla="*/ 1112 w 1212692"/>
                <a:gd name="connsiteY0" fmla="*/ 0 h 670560"/>
                <a:gd name="connsiteX1" fmla="*/ 1212692 w 1212692"/>
                <a:gd name="connsiteY1" fmla="*/ 137160 h 670560"/>
                <a:gd name="connsiteX2" fmla="*/ 717392 w 1212692"/>
                <a:gd name="connsiteY2" fmla="*/ 670560 h 670560"/>
                <a:gd name="connsiteX3" fmla="*/ 1112 w 1212692"/>
                <a:gd name="connsiteY3" fmla="*/ 0 h 670560"/>
                <a:gd name="connsiteX0" fmla="*/ 2700 w 1214280"/>
                <a:gd name="connsiteY0" fmla="*/ 0 h 670560"/>
                <a:gd name="connsiteX1" fmla="*/ 1214280 w 1214280"/>
                <a:gd name="connsiteY1" fmla="*/ 137160 h 670560"/>
                <a:gd name="connsiteX2" fmla="*/ 718980 w 1214280"/>
                <a:gd name="connsiteY2" fmla="*/ 670560 h 670560"/>
                <a:gd name="connsiteX3" fmla="*/ 2700 w 1214280"/>
                <a:gd name="connsiteY3" fmla="*/ 0 h 670560"/>
                <a:gd name="connsiteX0" fmla="*/ 2700 w 1216388"/>
                <a:gd name="connsiteY0" fmla="*/ 0 h 670560"/>
                <a:gd name="connsiteX1" fmla="*/ 1214280 w 1216388"/>
                <a:gd name="connsiteY1" fmla="*/ 137160 h 670560"/>
                <a:gd name="connsiteX2" fmla="*/ 718980 w 1216388"/>
                <a:gd name="connsiteY2" fmla="*/ 670560 h 670560"/>
                <a:gd name="connsiteX3" fmla="*/ 2700 w 1216388"/>
                <a:gd name="connsiteY3" fmla="*/ 0 h 670560"/>
                <a:gd name="connsiteX0" fmla="*/ 2700 w 1219956"/>
                <a:gd name="connsiteY0" fmla="*/ 0 h 670560"/>
                <a:gd name="connsiteX1" fmla="*/ 1214280 w 1219956"/>
                <a:gd name="connsiteY1" fmla="*/ 137160 h 670560"/>
                <a:gd name="connsiteX2" fmla="*/ 718980 w 1219956"/>
                <a:gd name="connsiteY2" fmla="*/ 670560 h 670560"/>
                <a:gd name="connsiteX3" fmla="*/ 2700 w 1219956"/>
                <a:gd name="connsiteY3" fmla="*/ 0 h 670560"/>
                <a:gd name="connsiteX0" fmla="*/ 2700 w 1219956"/>
                <a:gd name="connsiteY0" fmla="*/ 0 h 670560"/>
                <a:gd name="connsiteX1" fmla="*/ 1214280 w 1219956"/>
                <a:gd name="connsiteY1" fmla="*/ 137160 h 670560"/>
                <a:gd name="connsiteX2" fmla="*/ 718980 w 1219956"/>
                <a:gd name="connsiteY2" fmla="*/ 670560 h 670560"/>
                <a:gd name="connsiteX3" fmla="*/ 2700 w 1219956"/>
                <a:gd name="connsiteY3" fmla="*/ 0 h 670560"/>
                <a:gd name="connsiteX0" fmla="*/ 2700 w 1219956"/>
                <a:gd name="connsiteY0" fmla="*/ 0 h 670560"/>
                <a:gd name="connsiteX1" fmla="*/ 1214280 w 1219956"/>
                <a:gd name="connsiteY1" fmla="*/ 137160 h 670560"/>
                <a:gd name="connsiteX2" fmla="*/ 718980 w 1219956"/>
                <a:gd name="connsiteY2" fmla="*/ 670560 h 670560"/>
                <a:gd name="connsiteX3" fmla="*/ 2700 w 1219956"/>
                <a:gd name="connsiteY3" fmla="*/ 0 h 67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956" h="670560">
                  <a:moveTo>
                    <a:pt x="2700" y="0"/>
                  </a:moveTo>
                  <a:cubicBezTo>
                    <a:pt x="261780" y="160020"/>
                    <a:pt x="734220" y="274320"/>
                    <a:pt x="1214280" y="137160"/>
                  </a:cubicBezTo>
                  <a:cubicBezTo>
                    <a:pt x="1247300" y="589280"/>
                    <a:pt x="1143160" y="660400"/>
                    <a:pt x="718980" y="670560"/>
                  </a:cubicBezTo>
                  <a:cubicBezTo>
                    <a:pt x="160180" y="637540"/>
                    <a:pt x="-25240" y="467360"/>
                    <a:pt x="2700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7" dirty="0">
                <a:solidFill>
                  <a:schemeClr val="tx1"/>
                </a:solidFill>
              </a:endParaRPr>
            </a:p>
          </p:txBody>
        </p:sp>
        <p:sp>
          <p:nvSpPr>
            <p:cNvPr id="64" name="Freeform 63"/>
            <p:cNvSpPr/>
            <p:nvPr/>
          </p:nvSpPr>
          <p:spPr>
            <a:xfrm flipH="1">
              <a:off x="9479280" y="2468880"/>
              <a:ext cx="1219956" cy="670560"/>
            </a:xfrm>
            <a:custGeom>
              <a:avLst/>
              <a:gdLst>
                <a:gd name="connsiteX0" fmla="*/ 0 w 1211580"/>
                <a:gd name="connsiteY0" fmla="*/ 0 h 670560"/>
                <a:gd name="connsiteX1" fmla="*/ 1211580 w 1211580"/>
                <a:gd name="connsiteY1" fmla="*/ 137160 h 670560"/>
                <a:gd name="connsiteX2" fmla="*/ 716280 w 1211580"/>
                <a:gd name="connsiteY2" fmla="*/ 670560 h 670560"/>
                <a:gd name="connsiteX3" fmla="*/ 0 w 1211580"/>
                <a:gd name="connsiteY3" fmla="*/ 0 h 670560"/>
                <a:gd name="connsiteX0" fmla="*/ 1112 w 1212692"/>
                <a:gd name="connsiteY0" fmla="*/ 0 h 670560"/>
                <a:gd name="connsiteX1" fmla="*/ 1212692 w 1212692"/>
                <a:gd name="connsiteY1" fmla="*/ 137160 h 670560"/>
                <a:gd name="connsiteX2" fmla="*/ 717392 w 1212692"/>
                <a:gd name="connsiteY2" fmla="*/ 670560 h 670560"/>
                <a:gd name="connsiteX3" fmla="*/ 1112 w 1212692"/>
                <a:gd name="connsiteY3" fmla="*/ 0 h 670560"/>
                <a:gd name="connsiteX0" fmla="*/ 2700 w 1214280"/>
                <a:gd name="connsiteY0" fmla="*/ 0 h 670560"/>
                <a:gd name="connsiteX1" fmla="*/ 1214280 w 1214280"/>
                <a:gd name="connsiteY1" fmla="*/ 137160 h 670560"/>
                <a:gd name="connsiteX2" fmla="*/ 718980 w 1214280"/>
                <a:gd name="connsiteY2" fmla="*/ 670560 h 670560"/>
                <a:gd name="connsiteX3" fmla="*/ 2700 w 1214280"/>
                <a:gd name="connsiteY3" fmla="*/ 0 h 670560"/>
                <a:gd name="connsiteX0" fmla="*/ 2700 w 1216388"/>
                <a:gd name="connsiteY0" fmla="*/ 0 h 670560"/>
                <a:gd name="connsiteX1" fmla="*/ 1214280 w 1216388"/>
                <a:gd name="connsiteY1" fmla="*/ 137160 h 670560"/>
                <a:gd name="connsiteX2" fmla="*/ 718980 w 1216388"/>
                <a:gd name="connsiteY2" fmla="*/ 670560 h 670560"/>
                <a:gd name="connsiteX3" fmla="*/ 2700 w 1216388"/>
                <a:gd name="connsiteY3" fmla="*/ 0 h 670560"/>
                <a:gd name="connsiteX0" fmla="*/ 2700 w 1219956"/>
                <a:gd name="connsiteY0" fmla="*/ 0 h 670560"/>
                <a:gd name="connsiteX1" fmla="*/ 1214280 w 1219956"/>
                <a:gd name="connsiteY1" fmla="*/ 137160 h 670560"/>
                <a:gd name="connsiteX2" fmla="*/ 718980 w 1219956"/>
                <a:gd name="connsiteY2" fmla="*/ 670560 h 670560"/>
                <a:gd name="connsiteX3" fmla="*/ 2700 w 1219956"/>
                <a:gd name="connsiteY3" fmla="*/ 0 h 670560"/>
                <a:gd name="connsiteX0" fmla="*/ 2700 w 1219956"/>
                <a:gd name="connsiteY0" fmla="*/ 0 h 670560"/>
                <a:gd name="connsiteX1" fmla="*/ 1214280 w 1219956"/>
                <a:gd name="connsiteY1" fmla="*/ 137160 h 670560"/>
                <a:gd name="connsiteX2" fmla="*/ 718980 w 1219956"/>
                <a:gd name="connsiteY2" fmla="*/ 670560 h 670560"/>
                <a:gd name="connsiteX3" fmla="*/ 2700 w 1219956"/>
                <a:gd name="connsiteY3" fmla="*/ 0 h 670560"/>
                <a:gd name="connsiteX0" fmla="*/ 2700 w 1219956"/>
                <a:gd name="connsiteY0" fmla="*/ 0 h 670560"/>
                <a:gd name="connsiteX1" fmla="*/ 1214280 w 1219956"/>
                <a:gd name="connsiteY1" fmla="*/ 137160 h 670560"/>
                <a:gd name="connsiteX2" fmla="*/ 718980 w 1219956"/>
                <a:gd name="connsiteY2" fmla="*/ 670560 h 670560"/>
                <a:gd name="connsiteX3" fmla="*/ 2700 w 1219956"/>
                <a:gd name="connsiteY3" fmla="*/ 0 h 67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956" h="670560">
                  <a:moveTo>
                    <a:pt x="2700" y="0"/>
                  </a:moveTo>
                  <a:cubicBezTo>
                    <a:pt x="261780" y="160020"/>
                    <a:pt x="734220" y="274320"/>
                    <a:pt x="1214280" y="137160"/>
                  </a:cubicBezTo>
                  <a:cubicBezTo>
                    <a:pt x="1247300" y="589280"/>
                    <a:pt x="1143160" y="660400"/>
                    <a:pt x="718980" y="670560"/>
                  </a:cubicBezTo>
                  <a:cubicBezTo>
                    <a:pt x="160180" y="637540"/>
                    <a:pt x="-25240" y="467360"/>
                    <a:pt x="2700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7" dirty="0">
                <a:solidFill>
                  <a:schemeClr val="tx1"/>
                </a:solidFill>
              </a:endParaRPr>
            </a:p>
          </p:txBody>
        </p:sp>
        <p:sp>
          <p:nvSpPr>
            <p:cNvPr id="65" name="Freeform 64"/>
            <p:cNvSpPr/>
            <p:nvPr/>
          </p:nvSpPr>
          <p:spPr>
            <a:xfrm>
              <a:off x="10020299" y="2263140"/>
              <a:ext cx="3695759" cy="2918460"/>
            </a:xfrm>
            <a:custGeom>
              <a:avLst/>
              <a:gdLst/>
              <a:ahLst/>
              <a:cxnLst/>
              <a:rect l="l" t="t" r="r" b="b"/>
              <a:pathLst>
                <a:path w="3695759" h="2918460">
                  <a:moveTo>
                    <a:pt x="2203479" y="1497276"/>
                  </a:moveTo>
                  <a:lnTo>
                    <a:pt x="2203479" y="1738228"/>
                  </a:lnTo>
                  <a:lnTo>
                    <a:pt x="2520979" y="1738228"/>
                  </a:lnTo>
                  <a:lnTo>
                    <a:pt x="2520979" y="1497276"/>
                  </a:lnTo>
                  <a:close/>
                  <a:moveTo>
                    <a:pt x="1676415" y="1497276"/>
                  </a:moveTo>
                  <a:lnTo>
                    <a:pt x="1676415" y="1738228"/>
                  </a:lnTo>
                  <a:lnTo>
                    <a:pt x="1993915" y="1738228"/>
                  </a:lnTo>
                  <a:lnTo>
                    <a:pt x="1993915" y="1497276"/>
                  </a:lnTo>
                  <a:close/>
                  <a:moveTo>
                    <a:pt x="1149351" y="1497276"/>
                  </a:moveTo>
                  <a:lnTo>
                    <a:pt x="1149351" y="1738228"/>
                  </a:lnTo>
                  <a:lnTo>
                    <a:pt x="1466851" y="1738228"/>
                  </a:lnTo>
                  <a:lnTo>
                    <a:pt x="1466851" y="1497276"/>
                  </a:lnTo>
                  <a:close/>
                  <a:moveTo>
                    <a:pt x="2203479" y="1121584"/>
                  </a:moveTo>
                  <a:lnTo>
                    <a:pt x="2203479" y="1362536"/>
                  </a:lnTo>
                  <a:lnTo>
                    <a:pt x="2520979" y="1362536"/>
                  </a:lnTo>
                  <a:lnTo>
                    <a:pt x="2520979" y="1121584"/>
                  </a:lnTo>
                  <a:close/>
                  <a:moveTo>
                    <a:pt x="1676415" y="1121584"/>
                  </a:moveTo>
                  <a:lnTo>
                    <a:pt x="1676415" y="1362536"/>
                  </a:lnTo>
                  <a:lnTo>
                    <a:pt x="1993915" y="1362536"/>
                  </a:lnTo>
                  <a:lnTo>
                    <a:pt x="1993915" y="1121584"/>
                  </a:lnTo>
                  <a:close/>
                  <a:moveTo>
                    <a:pt x="1149351" y="1121584"/>
                  </a:moveTo>
                  <a:lnTo>
                    <a:pt x="1149351" y="1362536"/>
                  </a:lnTo>
                  <a:lnTo>
                    <a:pt x="1466851" y="1362536"/>
                  </a:lnTo>
                  <a:lnTo>
                    <a:pt x="1466851" y="1121584"/>
                  </a:lnTo>
                  <a:close/>
                  <a:moveTo>
                    <a:pt x="2203479" y="737046"/>
                  </a:moveTo>
                  <a:lnTo>
                    <a:pt x="2203479" y="977998"/>
                  </a:lnTo>
                  <a:lnTo>
                    <a:pt x="2520979" y="977998"/>
                  </a:lnTo>
                  <a:lnTo>
                    <a:pt x="2520979" y="737046"/>
                  </a:lnTo>
                  <a:close/>
                  <a:moveTo>
                    <a:pt x="1676415" y="737046"/>
                  </a:moveTo>
                  <a:lnTo>
                    <a:pt x="1676415" y="977998"/>
                  </a:lnTo>
                  <a:lnTo>
                    <a:pt x="1993915" y="977998"/>
                  </a:lnTo>
                  <a:lnTo>
                    <a:pt x="1993915" y="737046"/>
                  </a:lnTo>
                  <a:close/>
                  <a:moveTo>
                    <a:pt x="1149351" y="737046"/>
                  </a:moveTo>
                  <a:lnTo>
                    <a:pt x="1149351" y="977998"/>
                  </a:lnTo>
                  <a:lnTo>
                    <a:pt x="1466851" y="977998"/>
                  </a:lnTo>
                  <a:lnTo>
                    <a:pt x="1466851" y="737046"/>
                  </a:lnTo>
                  <a:close/>
                  <a:moveTo>
                    <a:pt x="2232660" y="0"/>
                  </a:moveTo>
                  <a:lnTo>
                    <a:pt x="2781300" y="0"/>
                  </a:lnTo>
                  <a:lnTo>
                    <a:pt x="2781300" y="472440"/>
                  </a:lnTo>
                  <a:lnTo>
                    <a:pt x="3528060" y="1653540"/>
                  </a:lnTo>
                  <a:cubicBezTo>
                    <a:pt x="3679190" y="1861820"/>
                    <a:pt x="3696970" y="2089150"/>
                    <a:pt x="3695700" y="2354580"/>
                  </a:cubicBezTo>
                  <a:lnTo>
                    <a:pt x="3695700" y="2918460"/>
                  </a:lnTo>
                  <a:lnTo>
                    <a:pt x="0" y="2918460"/>
                  </a:lnTo>
                  <a:lnTo>
                    <a:pt x="0" y="2392680"/>
                  </a:lnTo>
                  <a:cubicBezTo>
                    <a:pt x="0" y="2165350"/>
                    <a:pt x="44450" y="1887220"/>
                    <a:pt x="190500" y="1653540"/>
                  </a:cubicBezTo>
                  <a:lnTo>
                    <a:pt x="914400" y="480060"/>
                  </a:lnTo>
                  <a:lnTo>
                    <a:pt x="914400" y="7620"/>
                  </a:lnTo>
                  <a:lnTo>
                    <a:pt x="1478280" y="7620"/>
                  </a:lnTo>
                  <a:lnTo>
                    <a:pt x="1478280" y="342900"/>
                  </a:lnTo>
                  <a:lnTo>
                    <a:pt x="2225040" y="3429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7" dirty="0">
                <a:solidFill>
                  <a:schemeClr val="tx1"/>
                </a:solidFill>
              </a:endParaRPr>
            </a:p>
          </p:txBody>
        </p:sp>
      </p:grpSp>
      <p:sp>
        <p:nvSpPr>
          <p:cNvPr id="67" name="Freeform 39"/>
          <p:cNvSpPr>
            <a:spLocks noEditPoints="1"/>
          </p:cNvSpPr>
          <p:nvPr/>
        </p:nvSpPr>
        <p:spPr bwMode="auto">
          <a:xfrm>
            <a:off x="10190853" y="2813648"/>
            <a:ext cx="756413" cy="756413"/>
          </a:xfrm>
          <a:custGeom>
            <a:avLst/>
            <a:gdLst>
              <a:gd name="T0" fmla="*/ 1020 w 2347"/>
              <a:gd name="T1" fmla="*/ 2187 h 2347"/>
              <a:gd name="T2" fmla="*/ 1326 w 2347"/>
              <a:gd name="T3" fmla="*/ 2187 h 2347"/>
              <a:gd name="T4" fmla="*/ 1173 w 2347"/>
              <a:gd name="T5" fmla="*/ 2347 h 2347"/>
              <a:gd name="T6" fmla="*/ 1827 w 2347"/>
              <a:gd name="T7" fmla="*/ 1953 h 2347"/>
              <a:gd name="T8" fmla="*/ 1889 w 2347"/>
              <a:gd name="T9" fmla="*/ 1787 h 2347"/>
              <a:gd name="T10" fmla="*/ 1970 w 2347"/>
              <a:gd name="T11" fmla="*/ 1920 h 2347"/>
              <a:gd name="T12" fmla="*/ 376 w 2347"/>
              <a:gd name="T13" fmla="*/ 1922 h 2347"/>
              <a:gd name="T14" fmla="*/ 458 w 2347"/>
              <a:gd name="T15" fmla="*/ 1787 h 2347"/>
              <a:gd name="T16" fmla="*/ 520 w 2347"/>
              <a:gd name="T17" fmla="*/ 1953 h 2347"/>
              <a:gd name="T18" fmla="*/ 960 w 2347"/>
              <a:gd name="T19" fmla="*/ 1942 h 2347"/>
              <a:gd name="T20" fmla="*/ 973 w 2347"/>
              <a:gd name="T21" fmla="*/ 401 h 2347"/>
              <a:gd name="T22" fmla="*/ 981 w 2347"/>
              <a:gd name="T23" fmla="*/ 1810 h 2347"/>
              <a:gd name="T24" fmla="*/ 569 w 2347"/>
              <a:gd name="T25" fmla="*/ 1496 h 2347"/>
              <a:gd name="T26" fmla="*/ 1772 w 2347"/>
              <a:gd name="T27" fmla="*/ 1507 h 2347"/>
              <a:gd name="T28" fmla="*/ 1519 w 2347"/>
              <a:gd name="T29" fmla="*/ 1497 h 2347"/>
              <a:gd name="T30" fmla="*/ 1133 w 2347"/>
              <a:gd name="T31" fmla="*/ 1627 h 2347"/>
              <a:gd name="T32" fmla="*/ 899 w 2347"/>
              <a:gd name="T33" fmla="*/ 1477 h 2347"/>
              <a:gd name="T34" fmla="*/ 1324 w 2347"/>
              <a:gd name="T35" fmla="*/ 1743 h 2347"/>
              <a:gd name="T36" fmla="*/ 1213 w 2347"/>
              <a:gd name="T37" fmla="*/ 1620 h 2347"/>
              <a:gd name="T38" fmla="*/ 793 w 2347"/>
              <a:gd name="T39" fmla="*/ 1173 h 2347"/>
              <a:gd name="T40" fmla="*/ 652 w 2347"/>
              <a:gd name="T41" fmla="*/ 1347 h 2347"/>
              <a:gd name="T42" fmla="*/ 1133 w 2347"/>
              <a:gd name="T43" fmla="*/ 999 h 2347"/>
              <a:gd name="T44" fmla="*/ 872 w 2347"/>
              <a:gd name="T45" fmla="*/ 1329 h 2347"/>
              <a:gd name="T46" fmla="*/ 1477 w 2347"/>
              <a:gd name="T47" fmla="*/ 1170 h 2347"/>
              <a:gd name="T48" fmla="*/ 1213 w 2347"/>
              <a:gd name="T49" fmla="*/ 1174 h 2347"/>
              <a:gd name="T50" fmla="*/ 1477 w 2347"/>
              <a:gd name="T51" fmla="*/ 1170 h 2347"/>
              <a:gd name="T52" fmla="*/ 1553 w 2347"/>
              <a:gd name="T53" fmla="*/ 1000 h 2347"/>
              <a:gd name="T54" fmla="*/ 1845 w 2347"/>
              <a:gd name="T55" fmla="*/ 1317 h 2347"/>
              <a:gd name="T56" fmla="*/ 885 w 2347"/>
              <a:gd name="T57" fmla="*/ 553 h 2347"/>
              <a:gd name="T58" fmla="*/ 811 w 2347"/>
              <a:gd name="T59" fmla="*/ 920 h 2347"/>
              <a:gd name="T60" fmla="*/ 1093 w 2347"/>
              <a:gd name="T61" fmla="*/ 540 h 2347"/>
              <a:gd name="T62" fmla="*/ 1133 w 2347"/>
              <a:gd name="T63" fmla="*/ 920 h 2347"/>
              <a:gd name="T64" fmla="*/ 1253 w 2347"/>
              <a:gd name="T65" fmla="*/ 540 h 2347"/>
              <a:gd name="T66" fmla="*/ 1335 w 2347"/>
              <a:gd name="T67" fmla="*/ 920 h 2347"/>
              <a:gd name="T68" fmla="*/ 1458 w 2347"/>
              <a:gd name="T69" fmla="*/ 551 h 2347"/>
              <a:gd name="T70" fmla="*/ 1537 w 2347"/>
              <a:gd name="T71" fmla="*/ 920 h 2347"/>
              <a:gd name="T72" fmla="*/ 160 w 2347"/>
              <a:gd name="T73" fmla="*/ 1270 h 2347"/>
              <a:gd name="T74" fmla="*/ 80 w 2347"/>
              <a:gd name="T75" fmla="*/ 1133 h 2347"/>
              <a:gd name="T76" fmla="*/ 237 w 2347"/>
              <a:gd name="T77" fmla="*/ 1097 h 2347"/>
              <a:gd name="T78" fmla="*/ 160 w 2347"/>
              <a:gd name="T79" fmla="*/ 1270 h 2347"/>
              <a:gd name="T80" fmla="*/ 2187 w 2347"/>
              <a:gd name="T81" fmla="*/ 1020 h 2347"/>
              <a:gd name="T82" fmla="*/ 2347 w 2347"/>
              <a:gd name="T83" fmla="*/ 1173 h 2347"/>
              <a:gd name="T84" fmla="*/ 2180 w 2347"/>
              <a:gd name="T85" fmla="*/ 1321 h 2347"/>
              <a:gd name="T86" fmla="*/ 433 w 2347"/>
              <a:gd name="T87" fmla="*/ 480 h 2347"/>
              <a:gd name="T88" fmla="*/ 479 w 2347"/>
              <a:gd name="T89" fmla="*/ 433 h 2347"/>
              <a:gd name="T90" fmla="*/ 560 w 2347"/>
              <a:gd name="T91" fmla="*/ 560 h 2347"/>
              <a:gd name="T92" fmla="*/ 1787 w 2347"/>
              <a:gd name="T93" fmla="*/ 355 h 2347"/>
              <a:gd name="T94" fmla="*/ 1998 w 2347"/>
              <a:gd name="T95" fmla="*/ 344 h 2347"/>
              <a:gd name="T96" fmla="*/ 1992 w 2347"/>
              <a:gd name="T97" fmla="*/ 560 h 2347"/>
              <a:gd name="T98" fmla="*/ 1093 w 2347"/>
              <a:gd name="T99" fmla="*/ 233 h 2347"/>
              <a:gd name="T100" fmla="*/ 1133 w 2347"/>
              <a:gd name="T101" fmla="*/ 80 h 2347"/>
              <a:gd name="T102" fmla="*/ 1270 w 2347"/>
              <a:gd name="T103" fmla="*/ 160 h 2347"/>
              <a:gd name="T104" fmla="*/ 1093 w 2347"/>
              <a:gd name="T105" fmla="*/ 233 h 2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47" h="2347">
                <a:moveTo>
                  <a:pt x="1133" y="2267"/>
                </a:moveTo>
                <a:lnTo>
                  <a:pt x="1133" y="2187"/>
                </a:lnTo>
                <a:lnTo>
                  <a:pt x="1077" y="2187"/>
                </a:lnTo>
                <a:lnTo>
                  <a:pt x="1020" y="2187"/>
                </a:lnTo>
                <a:lnTo>
                  <a:pt x="1097" y="2110"/>
                </a:lnTo>
                <a:lnTo>
                  <a:pt x="1173" y="2034"/>
                </a:lnTo>
                <a:lnTo>
                  <a:pt x="1250" y="2110"/>
                </a:lnTo>
                <a:lnTo>
                  <a:pt x="1326" y="2187"/>
                </a:lnTo>
                <a:lnTo>
                  <a:pt x="1270" y="2187"/>
                </a:lnTo>
                <a:lnTo>
                  <a:pt x="1213" y="2187"/>
                </a:lnTo>
                <a:lnTo>
                  <a:pt x="1213" y="2267"/>
                </a:lnTo>
                <a:cubicBezTo>
                  <a:pt x="1213" y="2347"/>
                  <a:pt x="1213" y="2347"/>
                  <a:pt x="1173" y="2347"/>
                </a:cubicBezTo>
                <a:cubicBezTo>
                  <a:pt x="1133" y="2347"/>
                  <a:pt x="1133" y="2347"/>
                  <a:pt x="1133" y="2267"/>
                </a:cubicBezTo>
                <a:close/>
                <a:moveTo>
                  <a:pt x="1922" y="1969"/>
                </a:moveTo>
                <a:lnTo>
                  <a:pt x="1867" y="1914"/>
                </a:lnTo>
                <a:lnTo>
                  <a:pt x="1827" y="1953"/>
                </a:lnTo>
                <a:lnTo>
                  <a:pt x="1787" y="1992"/>
                </a:lnTo>
                <a:lnTo>
                  <a:pt x="1787" y="1889"/>
                </a:lnTo>
                <a:lnTo>
                  <a:pt x="1787" y="1787"/>
                </a:lnTo>
                <a:lnTo>
                  <a:pt x="1889" y="1787"/>
                </a:lnTo>
                <a:lnTo>
                  <a:pt x="1992" y="1787"/>
                </a:lnTo>
                <a:lnTo>
                  <a:pt x="1953" y="1827"/>
                </a:lnTo>
                <a:lnTo>
                  <a:pt x="1914" y="1868"/>
                </a:lnTo>
                <a:lnTo>
                  <a:pt x="1970" y="1920"/>
                </a:lnTo>
                <a:cubicBezTo>
                  <a:pt x="2026" y="1972"/>
                  <a:pt x="2027" y="1973"/>
                  <a:pt x="2002" y="1998"/>
                </a:cubicBezTo>
                <a:cubicBezTo>
                  <a:pt x="1977" y="2023"/>
                  <a:pt x="1976" y="2023"/>
                  <a:pt x="1922" y="1969"/>
                </a:cubicBezTo>
                <a:close/>
                <a:moveTo>
                  <a:pt x="343" y="1994"/>
                </a:moveTo>
                <a:cubicBezTo>
                  <a:pt x="320" y="1977"/>
                  <a:pt x="322" y="1972"/>
                  <a:pt x="376" y="1922"/>
                </a:cubicBezTo>
                <a:lnTo>
                  <a:pt x="433" y="1869"/>
                </a:lnTo>
                <a:lnTo>
                  <a:pt x="394" y="1828"/>
                </a:lnTo>
                <a:lnTo>
                  <a:pt x="355" y="1787"/>
                </a:lnTo>
                <a:lnTo>
                  <a:pt x="458" y="1787"/>
                </a:lnTo>
                <a:lnTo>
                  <a:pt x="560" y="1787"/>
                </a:lnTo>
                <a:lnTo>
                  <a:pt x="560" y="1889"/>
                </a:lnTo>
                <a:lnTo>
                  <a:pt x="560" y="1992"/>
                </a:lnTo>
                <a:lnTo>
                  <a:pt x="520" y="1953"/>
                </a:lnTo>
                <a:lnTo>
                  <a:pt x="480" y="1915"/>
                </a:lnTo>
                <a:lnTo>
                  <a:pt x="429" y="1964"/>
                </a:lnTo>
                <a:cubicBezTo>
                  <a:pt x="372" y="2020"/>
                  <a:pt x="375" y="2019"/>
                  <a:pt x="343" y="1994"/>
                </a:cubicBezTo>
                <a:close/>
                <a:moveTo>
                  <a:pt x="960" y="1942"/>
                </a:moveTo>
                <a:cubicBezTo>
                  <a:pt x="813" y="1898"/>
                  <a:pt x="725" y="1846"/>
                  <a:pt x="613" y="1734"/>
                </a:cubicBezTo>
                <a:cubicBezTo>
                  <a:pt x="493" y="1614"/>
                  <a:pt x="438" y="1515"/>
                  <a:pt x="399" y="1352"/>
                </a:cubicBezTo>
                <a:cubicBezTo>
                  <a:pt x="332" y="1075"/>
                  <a:pt x="418" y="793"/>
                  <a:pt x="627" y="595"/>
                </a:cubicBezTo>
                <a:cubicBezTo>
                  <a:pt x="729" y="499"/>
                  <a:pt x="836" y="439"/>
                  <a:pt x="973" y="401"/>
                </a:cubicBezTo>
                <a:cubicBezTo>
                  <a:pt x="1375" y="290"/>
                  <a:pt x="1809" y="532"/>
                  <a:pt x="1936" y="940"/>
                </a:cubicBezTo>
                <a:cubicBezTo>
                  <a:pt x="1977" y="1071"/>
                  <a:pt x="1977" y="1276"/>
                  <a:pt x="1936" y="1407"/>
                </a:cubicBezTo>
                <a:cubicBezTo>
                  <a:pt x="1808" y="1819"/>
                  <a:pt x="1364" y="2062"/>
                  <a:pt x="960" y="1942"/>
                </a:cubicBezTo>
                <a:close/>
                <a:moveTo>
                  <a:pt x="981" y="1810"/>
                </a:moveTo>
                <a:cubicBezTo>
                  <a:pt x="905" y="1705"/>
                  <a:pt x="885" y="1665"/>
                  <a:pt x="846" y="1549"/>
                </a:cubicBezTo>
                <a:lnTo>
                  <a:pt x="802" y="1420"/>
                </a:lnTo>
                <a:lnTo>
                  <a:pt x="686" y="1416"/>
                </a:lnTo>
                <a:cubicBezTo>
                  <a:pt x="525" y="1411"/>
                  <a:pt x="524" y="1412"/>
                  <a:pt x="569" y="1496"/>
                </a:cubicBezTo>
                <a:cubicBezTo>
                  <a:pt x="644" y="1634"/>
                  <a:pt x="773" y="1749"/>
                  <a:pt x="920" y="1809"/>
                </a:cubicBezTo>
                <a:cubicBezTo>
                  <a:pt x="1010" y="1846"/>
                  <a:pt x="1008" y="1846"/>
                  <a:pt x="981" y="1810"/>
                </a:cubicBezTo>
                <a:close/>
                <a:moveTo>
                  <a:pt x="1458" y="1795"/>
                </a:moveTo>
                <a:cubicBezTo>
                  <a:pt x="1581" y="1739"/>
                  <a:pt x="1714" y="1617"/>
                  <a:pt x="1772" y="1507"/>
                </a:cubicBezTo>
                <a:lnTo>
                  <a:pt x="1815" y="1427"/>
                </a:lnTo>
                <a:lnTo>
                  <a:pt x="1675" y="1427"/>
                </a:lnTo>
                <a:lnTo>
                  <a:pt x="1536" y="1427"/>
                </a:lnTo>
                <a:lnTo>
                  <a:pt x="1519" y="1497"/>
                </a:lnTo>
                <a:cubicBezTo>
                  <a:pt x="1497" y="1592"/>
                  <a:pt x="1449" y="1697"/>
                  <a:pt x="1393" y="1775"/>
                </a:cubicBezTo>
                <a:cubicBezTo>
                  <a:pt x="1368" y="1811"/>
                  <a:pt x="1350" y="1840"/>
                  <a:pt x="1354" y="1840"/>
                </a:cubicBezTo>
                <a:cubicBezTo>
                  <a:pt x="1358" y="1840"/>
                  <a:pt x="1405" y="1820"/>
                  <a:pt x="1458" y="1795"/>
                </a:cubicBezTo>
                <a:close/>
                <a:moveTo>
                  <a:pt x="1133" y="1627"/>
                </a:moveTo>
                <a:lnTo>
                  <a:pt x="1133" y="1427"/>
                </a:lnTo>
                <a:lnTo>
                  <a:pt x="1012" y="1427"/>
                </a:lnTo>
                <a:lnTo>
                  <a:pt x="890" y="1427"/>
                </a:lnTo>
                <a:lnTo>
                  <a:pt x="899" y="1477"/>
                </a:lnTo>
                <a:cubicBezTo>
                  <a:pt x="910" y="1535"/>
                  <a:pt x="973" y="1677"/>
                  <a:pt x="1015" y="1736"/>
                </a:cubicBezTo>
                <a:cubicBezTo>
                  <a:pt x="1038" y="1767"/>
                  <a:pt x="1112" y="1826"/>
                  <a:pt x="1130" y="1827"/>
                </a:cubicBezTo>
                <a:cubicBezTo>
                  <a:pt x="1132" y="1827"/>
                  <a:pt x="1133" y="1737"/>
                  <a:pt x="1133" y="1627"/>
                </a:cubicBezTo>
                <a:close/>
                <a:moveTo>
                  <a:pt x="1324" y="1743"/>
                </a:moveTo>
                <a:cubicBezTo>
                  <a:pt x="1367" y="1686"/>
                  <a:pt x="1411" y="1597"/>
                  <a:pt x="1434" y="1522"/>
                </a:cubicBezTo>
                <a:cubicBezTo>
                  <a:pt x="1468" y="1412"/>
                  <a:pt x="1469" y="1413"/>
                  <a:pt x="1333" y="1413"/>
                </a:cubicBezTo>
                <a:lnTo>
                  <a:pt x="1213" y="1413"/>
                </a:lnTo>
                <a:lnTo>
                  <a:pt x="1213" y="1620"/>
                </a:lnTo>
                <a:lnTo>
                  <a:pt x="1213" y="1827"/>
                </a:lnTo>
                <a:lnTo>
                  <a:pt x="1253" y="1807"/>
                </a:lnTo>
                <a:cubicBezTo>
                  <a:pt x="1274" y="1796"/>
                  <a:pt x="1307" y="1767"/>
                  <a:pt x="1324" y="1743"/>
                </a:cubicBezTo>
                <a:close/>
                <a:moveTo>
                  <a:pt x="793" y="1173"/>
                </a:moveTo>
                <a:lnTo>
                  <a:pt x="793" y="1000"/>
                </a:lnTo>
                <a:lnTo>
                  <a:pt x="652" y="1000"/>
                </a:lnTo>
                <a:cubicBezTo>
                  <a:pt x="485" y="1000"/>
                  <a:pt x="494" y="991"/>
                  <a:pt x="494" y="1173"/>
                </a:cubicBezTo>
                <a:cubicBezTo>
                  <a:pt x="494" y="1356"/>
                  <a:pt x="485" y="1347"/>
                  <a:pt x="652" y="1347"/>
                </a:cubicBezTo>
                <a:lnTo>
                  <a:pt x="793" y="1347"/>
                </a:lnTo>
                <a:lnTo>
                  <a:pt x="793" y="1173"/>
                </a:lnTo>
                <a:close/>
                <a:moveTo>
                  <a:pt x="1133" y="1173"/>
                </a:moveTo>
                <a:lnTo>
                  <a:pt x="1133" y="999"/>
                </a:lnTo>
                <a:lnTo>
                  <a:pt x="1003" y="1003"/>
                </a:lnTo>
                <a:lnTo>
                  <a:pt x="873" y="1007"/>
                </a:lnTo>
                <a:lnTo>
                  <a:pt x="870" y="1159"/>
                </a:lnTo>
                <a:cubicBezTo>
                  <a:pt x="867" y="1243"/>
                  <a:pt x="869" y="1320"/>
                  <a:pt x="872" y="1329"/>
                </a:cubicBezTo>
                <a:cubicBezTo>
                  <a:pt x="877" y="1342"/>
                  <a:pt x="914" y="1347"/>
                  <a:pt x="1006" y="1347"/>
                </a:cubicBezTo>
                <a:lnTo>
                  <a:pt x="1133" y="1347"/>
                </a:lnTo>
                <a:lnTo>
                  <a:pt x="1133" y="1173"/>
                </a:lnTo>
                <a:close/>
                <a:moveTo>
                  <a:pt x="1477" y="1170"/>
                </a:moveTo>
                <a:lnTo>
                  <a:pt x="1481" y="1000"/>
                </a:lnTo>
                <a:lnTo>
                  <a:pt x="1347" y="1000"/>
                </a:lnTo>
                <a:lnTo>
                  <a:pt x="1213" y="1000"/>
                </a:lnTo>
                <a:lnTo>
                  <a:pt x="1213" y="1174"/>
                </a:lnTo>
                <a:lnTo>
                  <a:pt x="1213" y="1348"/>
                </a:lnTo>
                <a:lnTo>
                  <a:pt x="1343" y="1344"/>
                </a:lnTo>
                <a:lnTo>
                  <a:pt x="1473" y="1340"/>
                </a:lnTo>
                <a:lnTo>
                  <a:pt x="1477" y="1170"/>
                </a:lnTo>
                <a:close/>
                <a:moveTo>
                  <a:pt x="1845" y="1317"/>
                </a:moveTo>
                <a:cubicBezTo>
                  <a:pt x="1849" y="1300"/>
                  <a:pt x="1853" y="1236"/>
                  <a:pt x="1853" y="1173"/>
                </a:cubicBezTo>
                <a:cubicBezTo>
                  <a:pt x="1853" y="991"/>
                  <a:pt x="1861" y="1000"/>
                  <a:pt x="1695" y="1000"/>
                </a:cubicBezTo>
                <a:lnTo>
                  <a:pt x="1553" y="1000"/>
                </a:lnTo>
                <a:lnTo>
                  <a:pt x="1553" y="1173"/>
                </a:lnTo>
                <a:lnTo>
                  <a:pt x="1553" y="1347"/>
                </a:lnTo>
                <a:lnTo>
                  <a:pt x="1695" y="1347"/>
                </a:lnTo>
                <a:cubicBezTo>
                  <a:pt x="1831" y="1347"/>
                  <a:pt x="1837" y="1345"/>
                  <a:pt x="1845" y="1317"/>
                </a:cubicBezTo>
                <a:close/>
                <a:moveTo>
                  <a:pt x="827" y="850"/>
                </a:moveTo>
                <a:cubicBezTo>
                  <a:pt x="850" y="755"/>
                  <a:pt x="898" y="649"/>
                  <a:pt x="953" y="571"/>
                </a:cubicBezTo>
                <a:cubicBezTo>
                  <a:pt x="979" y="536"/>
                  <a:pt x="997" y="507"/>
                  <a:pt x="992" y="507"/>
                </a:cubicBezTo>
                <a:cubicBezTo>
                  <a:pt x="988" y="507"/>
                  <a:pt x="940" y="527"/>
                  <a:pt x="885" y="553"/>
                </a:cubicBezTo>
                <a:cubicBezTo>
                  <a:pt x="765" y="608"/>
                  <a:pt x="623" y="741"/>
                  <a:pt x="568" y="850"/>
                </a:cubicBezTo>
                <a:lnTo>
                  <a:pt x="533" y="920"/>
                </a:lnTo>
                <a:lnTo>
                  <a:pt x="672" y="920"/>
                </a:lnTo>
                <a:lnTo>
                  <a:pt x="811" y="920"/>
                </a:lnTo>
                <a:lnTo>
                  <a:pt x="827" y="850"/>
                </a:lnTo>
                <a:close/>
                <a:moveTo>
                  <a:pt x="1133" y="720"/>
                </a:moveTo>
                <a:lnTo>
                  <a:pt x="1133" y="519"/>
                </a:lnTo>
                <a:lnTo>
                  <a:pt x="1093" y="540"/>
                </a:lnTo>
                <a:cubicBezTo>
                  <a:pt x="1021" y="577"/>
                  <a:pt x="923" y="745"/>
                  <a:pt x="900" y="870"/>
                </a:cubicBezTo>
                <a:lnTo>
                  <a:pt x="890" y="920"/>
                </a:lnTo>
                <a:lnTo>
                  <a:pt x="1012" y="920"/>
                </a:lnTo>
                <a:lnTo>
                  <a:pt x="1133" y="920"/>
                </a:lnTo>
                <a:lnTo>
                  <a:pt x="1133" y="720"/>
                </a:lnTo>
                <a:close/>
                <a:moveTo>
                  <a:pt x="1447" y="870"/>
                </a:moveTo>
                <a:cubicBezTo>
                  <a:pt x="1436" y="807"/>
                  <a:pt x="1369" y="661"/>
                  <a:pt x="1325" y="604"/>
                </a:cubicBezTo>
                <a:cubicBezTo>
                  <a:pt x="1307" y="580"/>
                  <a:pt x="1274" y="551"/>
                  <a:pt x="1253" y="540"/>
                </a:cubicBezTo>
                <a:lnTo>
                  <a:pt x="1213" y="519"/>
                </a:lnTo>
                <a:lnTo>
                  <a:pt x="1213" y="720"/>
                </a:lnTo>
                <a:lnTo>
                  <a:pt x="1213" y="920"/>
                </a:lnTo>
                <a:lnTo>
                  <a:pt x="1335" y="920"/>
                </a:lnTo>
                <a:lnTo>
                  <a:pt x="1456" y="920"/>
                </a:lnTo>
                <a:lnTo>
                  <a:pt x="1447" y="870"/>
                </a:lnTo>
                <a:close/>
                <a:moveTo>
                  <a:pt x="1772" y="840"/>
                </a:moveTo>
                <a:cubicBezTo>
                  <a:pt x="1714" y="730"/>
                  <a:pt x="1581" y="608"/>
                  <a:pt x="1458" y="551"/>
                </a:cubicBezTo>
                <a:cubicBezTo>
                  <a:pt x="1405" y="527"/>
                  <a:pt x="1358" y="507"/>
                  <a:pt x="1353" y="507"/>
                </a:cubicBezTo>
                <a:cubicBezTo>
                  <a:pt x="1348" y="507"/>
                  <a:pt x="1362" y="529"/>
                  <a:pt x="1384" y="557"/>
                </a:cubicBezTo>
                <a:cubicBezTo>
                  <a:pt x="1441" y="629"/>
                  <a:pt x="1489" y="731"/>
                  <a:pt x="1514" y="832"/>
                </a:cubicBezTo>
                <a:lnTo>
                  <a:pt x="1537" y="920"/>
                </a:lnTo>
                <a:lnTo>
                  <a:pt x="1676" y="920"/>
                </a:lnTo>
                <a:lnTo>
                  <a:pt x="1815" y="920"/>
                </a:lnTo>
                <a:lnTo>
                  <a:pt x="1772" y="840"/>
                </a:lnTo>
                <a:close/>
                <a:moveTo>
                  <a:pt x="160" y="1270"/>
                </a:moveTo>
                <a:lnTo>
                  <a:pt x="160" y="1213"/>
                </a:lnTo>
                <a:lnTo>
                  <a:pt x="80" y="1213"/>
                </a:lnTo>
                <a:cubicBezTo>
                  <a:pt x="0" y="1213"/>
                  <a:pt x="0" y="1213"/>
                  <a:pt x="0" y="1173"/>
                </a:cubicBezTo>
                <a:cubicBezTo>
                  <a:pt x="0" y="1133"/>
                  <a:pt x="0" y="1133"/>
                  <a:pt x="80" y="1133"/>
                </a:cubicBezTo>
                <a:lnTo>
                  <a:pt x="160" y="1133"/>
                </a:lnTo>
                <a:lnTo>
                  <a:pt x="160" y="1077"/>
                </a:lnTo>
                <a:lnTo>
                  <a:pt x="160" y="1020"/>
                </a:lnTo>
                <a:lnTo>
                  <a:pt x="237" y="1097"/>
                </a:lnTo>
                <a:lnTo>
                  <a:pt x="313" y="1173"/>
                </a:lnTo>
                <a:lnTo>
                  <a:pt x="237" y="1250"/>
                </a:lnTo>
                <a:lnTo>
                  <a:pt x="160" y="1326"/>
                </a:lnTo>
                <a:lnTo>
                  <a:pt x="160" y="1270"/>
                </a:lnTo>
                <a:close/>
                <a:moveTo>
                  <a:pt x="2107" y="1247"/>
                </a:moveTo>
                <a:lnTo>
                  <a:pt x="2034" y="1173"/>
                </a:lnTo>
                <a:lnTo>
                  <a:pt x="2110" y="1097"/>
                </a:lnTo>
                <a:lnTo>
                  <a:pt x="2187" y="1020"/>
                </a:lnTo>
                <a:lnTo>
                  <a:pt x="2187" y="1077"/>
                </a:lnTo>
                <a:lnTo>
                  <a:pt x="2187" y="1133"/>
                </a:lnTo>
                <a:lnTo>
                  <a:pt x="2267" y="1133"/>
                </a:lnTo>
                <a:cubicBezTo>
                  <a:pt x="2347" y="1133"/>
                  <a:pt x="2347" y="1133"/>
                  <a:pt x="2347" y="1173"/>
                </a:cubicBezTo>
                <a:cubicBezTo>
                  <a:pt x="2347" y="1213"/>
                  <a:pt x="2347" y="1213"/>
                  <a:pt x="2267" y="1213"/>
                </a:cubicBezTo>
                <a:lnTo>
                  <a:pt x="2188" y="1213"/>
                </a:lnTo>
                <a:lnTo>
                  <a:pt x="2184" y="1267"/>
                </a:lnTo>
                <a:lnTo>
                  <a:pt x="2180" y="1321"/>
                </a:lnTo>
                <a:lnTo>
                  <a:pt x="2107" y="1247"/>
                </a:lnTo>
                <a:close/>
                <a:moveTo>
                  <a:pt x="360" y="554"/>
                </a:moveTo>
                <a:cubicBezTo>
                  <a:pt x="360" y="551"/>
                  <a:pt x="376" y="533"/>
                  <a:pt x="396" y="514"/>
                </a:cubicBezTo>
                <a:lnTo>
                  <a:pt x="433" y="480"/>
                </a:lnTo>
                <a:lnTo>
                  <a:pt x="376" y="423"/>
                </a:lnTo>
                <a:cubicBezTo>
                  <a:pt x="320" y="366"/>
                  <a:pt x="320" y="364"/>
                  <a:pt x="345" y="342"/>
                </a:cubicBezTo>
                <a:cubicBezTo>
                  <a:pt x="370" y="319"/>
                  <a:pt x="373" y="320"/>
                  <a:pt x="425" y="376"/>
                </a:cubicBezTo>
                <a:lnTo>
                  <a:pt x="479" y="433"/>
                </a:lnTo>
                <a:lnTo>
                  <a:pt x="513" y="397"/>
                </a:lnTo>
                <a:cubicBezTo>
                  <a:pt x="532" y="377"/>
                  <a:pt x="551" y="360"/>
                  <a:pt x="554" y="360"/>
                </a:cubicBezTo>
                <a:cubicBezTo>
                  <a:pt x="557" y="360"/>
                  <a:pt x="560" y="405"/>
                  <a:pt x="560" y="460"/>
                </a:cubicBezTo>
                <a:lnTo>
                  <a:pt x="560" y="560"/>
                </a:lnTo>
                <a:lnTo>
                  <a:pt x="460" y="560"/>
                </a:lnTo>
                <a:cubicBezTo>
                  <a:pt x="405" y="560"/>
                  <a:pt x="360" y="557"/>
                  <a:pt x="360" y="554"/>
                </a:cubicBezTo>
                <a:close/>
                <a:moveTo>
                  <a:pt x="1787" y="458"/>
                </a:moveTo>
                <a:lnTo>
                  <a:pt x="1787" y="355"/>
                </a:lnTo>
                <a:lnTo>
                  <a:pt x="1828" y="394"/>
                </a:lnTo>
                <a:lnTo>
                  <a:pt x="1869" y="433"/>
                </a:lnTo>
                <a:lnTo>
                  <a:pt x="1921" y="377"/>
                </a:lnTo>
                <a:cubicBezTo>
                  <a:pt x="1971" y="323"/>
                  <a:pt x="1975" y="322"/>
                  <a:pt x="1998" y="344"/>
                </a:cubicBezTo>
                <a:cubicBezTo>
                  <a:pt x="2022" y="366"/>
                  <a:pt x="2021" y="369"/>
                  <a:pt x="1969" y="423"/>
                </a:cubicBezTo>
                <a:lnTo>
                  <a:pt x="1915" y="480"/>
                </a:lnTo>
                <a:lnTo>
                  <a:pt x="1953" y="520"/>
                </a:lnTo>
                <a:lnTo>
                  <a:pt x="1992" y="560"/>
                </a:lnTo>
                <a:lnTo>
                  <a:pt x="1889" y="560"/>
                </a:lnTo>
                <a:lnTo>
                  <a:pt x="1787" y="560"/>
                </a:lnTo>
                <a:lnTo>
                  <a:pt x="1787" y="458"/>
                </a:lnTo>
                <a:close/>
                <a:moveTo>
                  <a:pt x="1093" y="233"/>
                </a:moveTo>
                <a:lnTo>
                  <a:pt x="1021" y="160"/>
                </a:lnTo>
                <a:lnTo>
                  <a:pt x="1077" y="160"/>
                </a:lnTo>
                <a:lnTo>
                  <a:pt x="1133" y="160"/>
                </a:lnTo>
                <a:lnTo>
                  <a:pt x="1133" y="80"/>
                </a:lnTo>
                <a:cubicBezTo>
                  <a:pt x="1133" y="0"/>
                  <a:pt x="1133" y="0"/>
                  <a:pt x="1173" y="0"/>
                </a:cubicBezTo>
                <a:cubicBezTo>
                  <a:pt x="1213" y="0"/>
                  <a:pt x="1213" y="0"/>
                  <a:pt x="1213" y="80"/>
                </a:cubicBezTo>
                <a:lnTo>
                  <a:pt x="1213" y="160"/>
                </a:lnTo>
                <a:lnTo>
                  <a:pt x="1270" y="160"/>
                </a:lnTo>
                <a:lnTo>
                  <a:pt x="1326" y="160"/>
                </a:lnTo>
                <a:lnTo>
                  <a:pt x="1253" y="233"/>
                </a:lnTo>
                <a:cubicBezTo>
                  <a:pt x="1214" y="274"/>
                  <a:pt x="1178" y="307"/>
                  <a:pt x="1173" y="307"/>
                </a:cubicBezTo>
                <a:cubicBezTo>
                  <a:pt x="1169" y="307"/>
                  <a:pt x="1133" y="274"/>
                  <a:pt x="1093" y="233"/>
                </a:cubicBez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9491" tIns="59746" rIns="119491" bIns="59746" numCol="1" anchor="t" anchorCtr="0" compatLnSpc="1">
            <a:prstTxWarp prst="textNoShape">
              <a:avLst/>
            </a:prstTxWarp>
          </a:bodyPr>
          <a:lstStyle/>
          <a:p>
            <a:endParaRPr lang="en-US" sz="2091" dirty="0"/>
          </a:p>
        </p:txBody>
      </p:sp>
      <p:sp>
        <p:nvSpPr>
          <p:cNvPr id="6" name="TextBox 5"/>
          <p:cNvSpPr txBox="1"/>
          <p:nvPr/>
        </p:nvSpPr>
        <p:spPr>
          <a:xfrm>
            <a:off x="6226035" y="3664669"/>
            <a:ext cx="3661739" cy="2816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830" b="1" dirty="0" smtClean="0">
                <a:solidFill>
                  <a:schemeClr val="tx2"/>
                </a:solidFill>
                <a:cs typeface="Arial" panose="020B0604020202020204" pitchFamily="34" charset="0"/>
              </a:rPr>
              <a:t>Objectives</a:t>
            </a:r>
            <a:endParaRPr lang="en-US" sz="183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395420" y="4438038"/>
            <a:ext cx="4164244" cy="16896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830" b="1" dirty="0" smtClean="0">
                <a:solidFill>
                  <a:schemeClr val="tx2"/>
                </a:solidFill>
                <a:cs typeface="Arial" panose="020B0604020202020204" pitchFamily="34" charset="0"/>
              </a:rPr>
              <a:t>Test and learn end to end inventory cycle </a:t>
            </a:r>
            <a:r>
              <a:rPr lang="en-US" sz="1830" dirty="0" smtClean="0">
                <a:cs typeface="Arial" panose="020B0604020202020204" pitchFamily="34" charset="0"/>
              </a:rPr>
              <a:t>approach </a:t>
            </a:r>
            <a:r>
              <a:rPr lang="en-US" sz="1830" b="1" dirty="0" smtClean="0">
                <a:solidFill>
                  <a:schemeClr val="tx2"/>
                </a:solidFill>
                <a:cs typeface="Arial" panose="020B0604020202020204" pitchFamily="34" charset="0"/>
              </a:rPr>
              <a:t>for best-selling SKUs </a:t>
            </a:r>
          </a:p>
          <a:p>
            <a:pPr lvl="1"/>
            <a:endParaRPr lang="en-US" sz="1830" b="1" dirty="0" smtClean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lvl="1"/>
            <a:r>
              <a:rPr lang="en-US" sz="1830" b="1" dirty="0" smtClean="0">
                <a:solidFill>
                  <a:schemeClr val="tx2"/>
                </a:solidFill>
                <a:cs typeface="Arial" panose="020B0604020202020204" pitchFamily="34" charset="0"/>
              </a:rPr>
              <a:t>Target top SKUs </a:t>
            </a:r>
            <a:r>
              <a:rPr lang="en-US" sz="1830" dirty="0" smtClean="0">
                <a:cs typeface="Arial" panose="020B0604020202020204" pitchFamily="34" charset="0"/>
              </a:rPr>
              <a:t>to ensure and promote </a:t>
            </a:r>
            <a:r>
              <a:rPr lang="en-US" sz="1830" b="1" dirty="0" smtClean="0">
                <a:solidFill>
                  <a:schemeClr val="tx2"/>
                </a:solidFill>
                <a:cs typeface="Arial" panose="020B0604020202020204" pitchFamily="34" charset="0"/>
              </a:rPr>
              <a:t>right stock at right prices</a:t>
            </a:r>
            <a:endParaRPr lang="en-US" sz="183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1715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5527771"/>
              </p:ext>
            </p:extLst>
          </p:nvPr>
        </p:nvGraphicFramePr>
        <p:xfrm>
          <a:off x="2075" y="2125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73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75" y="2125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n the pilot, we pragmatically used a simple Excel to provide personalised seller reports with SKU recommendations to target sellers </a:t>
            </a:r>
          </a:p>
        </p:txBody>
      </p:sp>
      <p:sp>
        <p:nvSpPr>
          <p:cNvPr id="40" name="Oval 39"/>
          <p:cNvSpPr>
            <a:spLocks/>
          </p:cNvSpPr>
          <p:nvPr/>
        </p:nvSpPr>
        <p:spPr>
          <a:xfrm>
            <a:off x="8689251" y="4428724"/>
            <a:ext cx="268198" cy="26819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de-DE" b="1" dirty="0"/>
              <a:t>4</a:t>
            </a: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9056077" y="4439713"/>
            <a:ext cx="238890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Trending SKUs</a:t>
            </a:r>
          </a:p>
        </p:txBody>
      </p:sp>
      <p:sp>
        <p:nvSpPr>
          <p:cNvPr id="35" name="Oval 34"/>
          <p:cNvSpPr>
            <a:spLocks/>
          </p:cNvSpPr>
          <p:nvPr/>
        </p:nvSpPr>
        <p:spPr>
          <a:xfrm>
            <a:off x="5951329" y="4428724"/>
            <a:ext cx="268198" cy="26819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de-DE" b="1" dirty="0"/>
              <a:t>3</a:t>
            </a:r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6318156" y="4439713"/>
            <a:ext cx="21863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Ensure stock</a:t>
            </a:r>
          </a:p>
        </p:txBody>
      </p:sp>
      <p:sp>
        <p:nvSpPr>
          <p:cNvPr id="30" name="Oval 29"/>
          <p:cNvSpPr>
            <a:spLocks/>
          </p:cNvSpPr>
          <p:nvPr/>
        </p:nvSpPr>
        <p:spPr>
          <a:xfrm>
            <a:off x="3213409" y="4428724"/>
            <a:ext cx="268198" cy="26819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de-DE" b="1" dirty="0"/>
              <a:t>2</a:t>
            </a: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3580235" y="4439713"/>
            <a:ext cx="21863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Reduce Price</a:t>
            </a:r>
          </a:p>
        </p:txBody>
      </p:sp>
      <p:sp>
        <p:nvSpPr>
          <p:cNvPr id="12" name="Oval 11"/>
          <p:cNvSpPr>
            <a:spLocks/>
          </p:cNvSpPr>
          <p:nvPr/>
        </p:nvSpPr>
        <p:spPr>
          <a:xfrm>
            <a:off x="475488" y="4428724"/>
            <a:ext cx="268198" cy="26819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1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842315" y="4439713"/>
            <a:ext cx="218636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chemeClr val="tx2"/>
                </a:solidFill>
              </a:rPr>
              <a:t>Increase stock</a:t>
            </a:r>
          </a:p>
        </p:txBody>
      </p:sp>
      <p:pic>
        <p:nvPicPr>
          <p:cNvPr id="5" name="Picture 4"/>
          <p:cNvPicPr>
            <a:picLocks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488" y="1200682"/>
            <a:ext cx="10969498" cy="301987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6" name="Group 15"/>
          <p:cNvGrpSpPr/>
          <p:nvPr/>
        </p:nvGrpSpPr>
        <p:grpSpPr>
          <a:xfrm>
            <a:off x="1430865" y="3959878"/>
            <a:ext cx="178312" cy="178311"/>
            <a:chOff x="727906" y="3530560"/>
            <a:chExt cx="270933" cy="270933"/>
          </a:xfrm>
          <a:solidFill>
            <a:schemeClr val="accent4"/>
          </a:solidFill>
        </p:grpSpPr>
        <p:sp>
          <p:nvSpPr>
            <p:cNvPr id="17" name="Oval 16"/>
            <p:cNvSpPr/>
            <p:nvPr/>
          </p:nvSpPr>
          <p:spPr>
            <a:xfrm>
              <a:off x="727906" y="3530560"/>
              <a:ext cx="270933" cy="270933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801241" y="3541827"/>
              <a:ext cx="179999" cy="231582"/>
            </a:xfrm>
            <a:prstGeom prst="rect">
              <a:avLst/>
            </a:prstGeom>
            <a:grpFill/>
          </p:spPr>
          <p:txBody>
            <a:bodyPr vert="horz" lIns="0" tIns="0" rIns="0" bIns="0" rtlCol="0">
              <a:spAutoFit/>
            </a:bodyPr>
            <a:lstStyle>
              <a:lvl1pPr marL="114300" lvl="0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marL="342900" lvl="1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marL="457200" lvl="2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marL="685800" lvl="3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marL="857250" lvl="4" indent="-171450" defTabSz="457200" eaLnBrk="1" hangingPunct="1">
                <a:spcBef>
                  <a:spcPct val="20000"/>
                </a:spcBef>
                <a:buFont typeface="Arial"/>
                <a:buChar char="»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marL="25146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6pPr>
              <a:lvl7pPr marL="29718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7pPr>
              <a:lvl8pPr marL="34290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8pPr>
              <a:lvl9pPr marL="38862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9pPr>
            </a:lstStyle>
            <a:p>
              <a:pPr marL="0" indent="0">
                <a:buNone/>
              </a:pPr>
              <a:r>
                <a:rPr lang="de-DE" sz="1045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123611" y="3959878"/>
            <a:ext cx="178312" cy="178311"/>
            <a:chOff x="727906" y="3530560"/>
            <a:chExt cx="270933" cy="270933"/>
          </a:xfrm>
          <a:solidFill>
            <a:schemeClr val="accent4"/>
          </a:solidFill>
        </p:grpSpPr>
        <p:sp>
          <p:nvSpPr>
            <p:cNvPr id="20" name="Oval 19"/>
            <p:cNvSpPr/>
            <p:nvPr/>
          </p:nvSpPr>
          <p:spPr>
            <a:xfrm>
              <a:off x="727906" y="3530560"/>
              <a:ext cx="270933" cy="270933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801241" y="3541827"/>
              <a:ext cx="179999" cy="231582"/>
            </a:xfrm>
            <a:prstGeom prst="rect">
              <a:avLst/>
            </a:prstGeom>
            <a:grpFill/>
          </p:spPr>
          <p:txBody>
            <a:bodyPr vert="horz" lIns="0" tIns="0" rIns="0" bIns="0" rtlCol="0">
              <a:spAutoFit/>
            </a:bodyPr>
            <a:lstStyle>
              <a:lvl1pPr marL="114300" lvl="0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marL="342900" lvl="1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marL="457200" lvl="2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marL="685800" lvl="3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marL="857250" lvl="4" indent="-171450" defTabSz="457200" eaLnBrk="1" hangingPunct="1">
                <a:spcBef>
                  <a:spcPct val="20000"/>
                </a:spcBef>
                <a:buFont typeface="Arial"/>
                <a:buChar char="»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marL="25146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6pPr>
              <a:lvl7pPr marL="29718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7pPr>
              <a:lvl8pPr marL="34290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8pPr>
              <a:lvl9pPr marL="38862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9pPr>
            </a:lstStyle>
            <a:p>
              <a:pPr marL="0" indent="0">
                <a:buNone/>
              </a:pPr>
              <a:r>
                <a:rPr lang="de-DE" sz="1045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358027" y="3959878"/>
            <a:ext cx="178312" cy="178311"/>
            <a:chOff x="727906" y="3530560"/>
            <a:chExt cx="270933" cy="270933"/>
          </a:xfrm>
          <a:solidFill>
            <a:schemeClr val="accent4"/>
          </a:solidFill>
        </p:grpSpPr>
        <p:sp>
          <p:nvSpPr>
            <p:cNvPr id="23" name="Oval 22"/>
            <p:cNvSpPr/>
            <p:nvPr/>
          </p:nvSpPr>
          <p:spPr>
            <a:xfrm>
              <a:off x="727906" y="3530560"/>
              <a:ext cx="270933" cy="270933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801241" y="3541827"/>
              <a:ext cx="179999" cy="231582"/>
            </a:xfrm>
            <a:prstGeom prst="rect">
              <a:avLst/>
            </a:prstGeom>
            <a:grpFill/>
          </p:spPr>
          <p:txBody>
            <a:bodyPr vert="horz" lIns="0" tIns="0" rIns="0" bIns="0" rtlCol="0">
              <a:spAutoFit/>
            </a:bodyPr>
            <a:lstStyle>
              <a:lvl1pPr marL="114300" lvl="0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marL="342900" lvl="1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marL="457200" lvl="2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marL="685800" lvl="3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marL="857250" lvl="4" indent="-171450" defTabSz="457200" eaLnBrk="1" hangingPunct="1">
                <a:spcBef>
                  <a:spcPct val="20000"/>
                </a:spcBef>
                <a:buFont typeface="Arial"/>
                <a:buChar char="»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marL="25146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6pPr>
              <a:lvl7pPr marL="29718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7pPr>
              <a:lvl8pPr marL="34290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8pPr>
              <a:lvl9pPr marL="38862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9pPr>
            </a:lstStyle>
            <a:p>
              <a:pPr marL="0" indent="0">
                <a:buNone/>
              </a:pPr>
              <a:r>
                <a:rPr lang="de-DE" sz="1045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744471" y="3959878"/>
            <a:ext cx="178312" cy="178311"/>
            <a:chOff x="727906" y="3530560"/>
            <a:chExt cx="270933" cy="270933"/>
          </a:xfrm>
          <a:solidFill>
            <a:schemeClr val="accent4"/>
          </a:solidFill>
        </p:grpSpPr>
        <p:sp>
          <p:nvSpPr>
            <p:cNvPr id="26" name="Oval 25"/>
            <p:cNvSpPr/>
            <p:nvPr/>
          </p:nvSpPr>
          <p:spPr>
            <a:xfrm>
              <a:off x="727906" y="3530560"/>
              <a:ext cx="270933" cy="270933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91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801241" y="3541827"/>
              <a:ext cx="179999" cy="231582"/>
            </a:xfrm>
            <a:prstGeom prst="rect">
              <a:avLst/>
            </a:prstGeom>
            <a:grpFill/>
          </p:spPr>
          <p:txBody>
            <a:bodyPr vert="horz" lIns="0" tIns="0" rIns="0" bIns="0" rtlCol="0">
              <a:spAutoFit/>
            </a:bodyPr>
            <a:lstStyle>
              <a:lvl1pPr marL="114300" lvl="0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marL="342900" lvl="1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marL="457200" lvl="2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marL="685800" lvl="3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marL="857250" lvl="4" indent="-171450" defTabSz="457200" eaLnBrk="1" hangingPunct="1">
                <a:spcBef>
                  <a:spcPct val="20000"/>
                </a:spcBef>
                <a:buFont typeface="Arial"/>
                <a:buChar char="»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marL="25146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6pPr>
              <a:lvl7pPr marL="29718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7pPr>
              <a:lvl8pPr marL="34290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8pPr>
              <a:lvl9pPr marL="38862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9pPr>
            </a:lstStyle>
            <a:p>
              <a:pPr marL="0" indent="0">
                <a:buNone/>
              </a:pPr>
              <a:r>
                <a:rPr lang="de-DE" sz="1045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9216256" y="3782334"/>
            <a:ext cx="1664963" cy="232468"/>
          </a:xfrm>
          <a:prstGeom prst="rect">
            <a:avLst/>
          </a:prstGeom>
        </p:spPr>
        <p:txBody>
          <a:bodyPr vert="horz" wrap="square" lIns="0" tIns="0" rIns="0" bIns="23898" rtlCol="0" anchor="b" anchorCtr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>
              <a:buFont typeface="Wingdings" panose="05000000000000000000" pitchFamily="2" charset="2"/>
              <a:buChar char="ü"/>
            </a:pPr>
            <a:endParaRPr lang="en-US" sz="143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1934529" y="2979322"/>
            <a:ext cx="3282224" cy="20959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>
              <a:buNone/>
            </a:pPr>
            <a:endParaRPr lang="en-US" sz="1437" dirty="0"/>
          </a:p>
        </p:txBody>
      </p:sp>
      <p:sp>
        <p:nvSpPr>
          <p:cNvPr id="4" name="TextBox 3"/>
          <p:cNvSpPr txBox="1"/>
          <p:nvPr/>
        </p:nvSpPr>
        <p:spPr>
          <a:xfrm>
            <a:off x="842315" y="4725339"/>
            <a:ext cx="2186365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dirty="0" smtClean="0">
                <a:cs typeface="Arial" panose="020B0604020202020204" pitchFamily="34" charset="0"/>
              </a:rPr>
              <a:t>Lists topselling items for which stock is 0.</a:t>
            </a:r>
          </a:p>
          <a:p>
            <a:pPr lvl="1"/>
            <a:r>
              <a:rPr lang="en-US" dirty="0" smtClean="0">
                <a:cs typeface="Arial" panose="020B0604020202020204" pitchFamily="34" charset="0"/>
              </a:rPr>
              <a:t>ACTION Seller should increase stock  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80235" y="4725339"/>
            <a:ext cx="2186365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dirty="0" smtClean="0">
                <a:cs typeface="Arial" panose="020B0604020202020204" pitchFamily="34" charset="0"/>
              </a:rPr>
              <a:t>Shows topselling items which are overpriced </a:t>
            </a:r>
          </a:p>
          <a:p>
            <a:pPr lvl="1"/>
            <a:r>
              <a:rPr lang="en-US" dirty="0" smtClean="0">
                <a:cs typeface="Arial" panose="020B0604020202020204" pitchFamily="34" charset="0"/>
              </a:rPr>
              <a:t>ACTION Seller should try to decrease prices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18156" y="4725339"/>
            <a:ext cx="2186365" cy="12311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dirty="0" smtClean="0">
                <a:cs typeface="Arial" panose="020B0604020202020204" pitchFamily="34" charset="0"/>
              </a:rPr>
              <a:t>These items are particularly strong </a:t>
            </a:r>
          </a:p>
          <a:p>
            <a:pPr lvl="1"/>
            <a:r>
              <a:rPr lang="en-US" dirty="0" smtClean="0">
                <a:cs typeface="Arial" panose="020B0604020202020204" pitchFamily="34" charset="0"/>
              </a:rPr>
              <a:t>ACTION Seller should make sure to have enough stock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056077" y="4725339"/>
            <a:ext cx="2388909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dirty="0" smtClean="0">
                <a:cs typeface="Arial" panose="020B0604020202020204" pitchFamily="34" charset="0"/>
              </a:rPr>
              <a:t>Hot items for most relevant L2 categories on child account level </a:t>
            </a:r>
          </a:p>
          <a:p>
            <a:pPr lvl="1"/>
            <a:r>
              <a:rPr lang="en-US" dirty="0" smtClean="0">
                <a:cs typeface="Arial" panose="020B0604020202020204" pitchFamily="34" charset="0"/>
              </a:rPr>
              <a:t>ACTION Seller should use list to find potential gaps in his portfolio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13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09555" y="1748491"/>
            <a:ext cx="2641600" cy="4406900"/>
          </a:xfrm>
          <a:prstGeom prst="rect">
            <a:avLst/>
          </a:prstGeom>
        </p:spPr>
      </p:pic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963701"/>
              </p:ext>
            </p:extLst>
          </p:nvPr>
        </p:nvGraphicFramePr>
        <p:xfrm>
          <a:off x="2614988" y="841353"/>
          <a:ext cx="1166" cy="11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897" name="think-cell Slide" r:id="rId8" imgW="442" imgH="440" progId="TCLayout.ActiveDocument.1">
                  <p:embed/>
                </p:oleObj>
              </mc:Choice>
              <mc:Fallback>
                <p:oleObj name="think-cell Slide" r:id="rId8" imgW="442" imgH="4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614988" y="841353"/>
                        <a:ext cx="1166" cy="11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2613819" y="840185"/>
            <a:ext cx="116693" cy="11669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0547" fontAlgn="auto" hangingPunct="0"/>
            <a:endParaRPr lang="en-US" sz="2400" kern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We reached out via email and calls to 172 unmanaged sellers that cover 7,000 SKUs</a:t>
            </a:r>
          </a:p>
        </p:txBody>
      </p:sp>
      <p:sp>
        <p:nvSpPr>
          <p:cNvPr id="73" name="TextBox 72"/>
          <p:cNvSpPr txBox="1">
            <a:spLocks/>
          </p:cNvSpPr>
          <p:nvPr/>
        </p:nvSpPr>
        <p:spPr>
          <a:xfrm>
            <a:off x="185115" y="745005"/>
            <a:ext cx="230285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GB" sz="1400" b="1" dirty="0">
                <a:solidFill>
                  <a:schemeClr val="tx2"/>
                </a:solidFill>
                <a:sym typeface="Arial"/>
              </a:rPr>
              <a:t>Reached 172 VIP and High Value sellers, </a:t>
            </a:r>
            <a:r>
              <a:rPr lang="en-GB" sz="1400" dirty="0">
                <a:solidFill>
                  <a:prstClr val="white">
                    <a:lumMod val="50000"/>
                  </a:prstClr>
                </a:solidFill>
                <a:sym typeface="Arial"/>
              </a:rPr>
              <a:t># of SKUs covered </a:t>
            </a:r>
          </a:p>
        </p:txBody>
      </p:sp>
      <p:sp>
        <p:nvSpPr>
          <p:cNvPr id="102" name="TextBox 101"/>
          <p:cNvSpPr txBox="1">
            <a:spLocks/>
          </p:cNvSpPr>
          <p:nvPr/>
        </p:nvSpPr>
        <p:spPr>
          <a:xfrm>
            <a:off x="3600985" y="1193881"/>
            <a:ext cx="802330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GB" sz="1400" b="1" dirty="0">
                <a:solidFill>
                  <a:schemeClr val="tx2"/>
                </a:solidFill>
                <a:sym typeface="Arial"/>
              </a:rPr>
              <a:t>Sellers receive individualized Email with seller specific report and explanation 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404262" y="1522310"/>
            <a:ext cx="226180" cy="229146"/>
            <a:chOff x="6440987" y="1794350"/>
            <a:chExt cx="209830" cy="212581"/>
          </a:xfrm>
          <a:solidFill>
            <a:schemeClr val="accent1"/>
          </a:solidFill>
        </p:grpSpPr>
        <p:sp>
          <p:nvSpPr>
            <p:cNvPr id="52" name="Oval 51"/>
            <p:cNvSpPr/>
            <p:nvPr/>
          </p:nvSpPr>
          <p:spPr>
            <a:xfrm>
              <a:off x="6440987" y="1794350"/>
              <a:ext cx="209830" cy="20983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054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1400" kern="0" dirty="0">
                <a:solidFill>
                  <a:prstClr val="white"/>
                </a:solidFill>
                <a:sym typeface="Arial"/>
              </a:endParaRPr>
            </a:p>
          </p:txBody>
        </p:sp>
        <p:sp>
          <p:nvSpPr>
            <p:cNvPr id="53" name="TextBox 52"/>
            <p:cNvSpPr txBox="1">
              <a:spLocks/>
            </p:cNvSpPr>
            <p:nvPr/>
          </p:nvSpPr>
          <p:spPr>
            <a:xfrm>
              <a:off x="6499817" y="1798717"/>
              <a:ext cx="96051" cy="20821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>
              <a:spAutoFit/>
            </a:bodyPr>
            <a:lstStyle>
              <a:lvl1pPr marL="114300" lvl="0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marL="342900" lvl="1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marL="457200" lvl="2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marL="685800" lvl="3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marL="857250" lvl="4" indent="-171450" defTabSz="457200" eaLnBrk="1" hangingPunct="1">
                <a:spcBef>
                  <a:spcPct val="20000"/>
                </a:spcBef>
                <a:buFont typeface="Arial"/>
                <a:buChar char="»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marL="25146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6pPr>
              <a:lvl7pPr marL="29718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7pPr>
              <a:lvl8pPr marL="34290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8pPr>
              <a:lvl9pPr marL="38862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9pPr>
            </a:lstStyle>
            <a:p>
              <a:pPr marL="0" indent="0" fontAlgn="auto">
                <a:spcAft>
                  <a:spcPts val="0"/>
                </a:spcAft>
                <a:buNone/>
              </a:pPr>
              <a:r>
                <a:rPr lang="en-GB" sz="1400" dirty="0">
                  <a:solidFill>
                    <a:prstClr val="white"/>
                  </a:solidFill>
                  <a:sym typeface="Arial"/>
                </a:rPr>
                <a:t>1</a:t>
              </a:r>
            </a:p>
          </p:txBody>
        </p:sp>
      </p:grpSp>
      <p:sp>
        <p:nvSpPr>
          <p:cNvPr id="57" name="TextBox 56"/>
          <p:cNvSpPr txBox="1">
            <a:spLocks/>
          </p:cNvSpPr>
          <p:nvPr/>
        </p:nvSpPr>
        <p:spPr>
          <a:xfrm>
            <a:off x="6704507" y="1517027"/>
            <a:ext cx="2173159" cy="673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GB" sz="1400" dirty="0">
                <a:solidFill>
                  <a:srgbClr val="000000"/>
                </a:solidFill>
                <a:sym typeface="Arial"/>
              </a:rPr>
              <a:t>Download link to PDF which explains seller report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9150887" y="1522310"/>
            <a:ext cx="226180" cy="229146"/>
            <a:chOff x="8989060" y="1794350"/>
            <a:chExt cx="209829" cy="212581"/>
          </a:xfrm>
          <a:solidFill>
            <a:schemeClr val="accent1"/>
          </a:solidFill>
        </p:grpSpPr>
        <p:sp>
          <p:nvSpPr>
            <p:cNvPr id="55" name="Oval 54"/>
            <p:cNvSpPr/>
            <p:nvPr/>
          </p:nvSpPr>
          <p:spPr>
            <a:xfrm>
              <a:off x="8989060" y="1794350"/>
              <a:ext cx="209829" cy="20983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054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1400" kern="0" dirty="0">
                <a:solidFill>
                  <a:prstClr val="white"/>
                </a:solidFill>
                <a:sym typeface="Arial"/>
              </a:endParaRPr>
            </a:p>
          </p:txBody>
        </p:sp>
        <p:sp>
          <p:nvSpPr>
            <p:cNvPr id="56" name="TextBox 55"/>
            <p:cNvSpPr txBox="1">
              <a:spLocks/>
            </p:cNvSpPr>
            <p:nvPr/>
          </p:nvSpPr>
          <p:spPr>
            <a:xfrm>
              <a:off x="9047888" y="1798717"/>
              <a:ext cx="96050" cy="20821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>
              <a:spAutoFit/>
            </a:bodyPr>
            <a:lstStyle>
              <a:lvl1pPr marL="114300" lvl="0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marL="342900" lvl="1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marL="457200" lvl="2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marL="685800" lvl="3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marL="857250" lvl="4" indent="-171450" defTabSz="457200" eaLnBrk="1" hangingPunct="1">
                <a:spcBef>
                  <a:spcPct val="20000"/>
                </a:spcBef>
                <a:buFont typeface="Arial"/>
                <a:buChar char="»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marL="25146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6pPr>
              <a:lvl7pPr marL="29718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7pPr>
              <a:lvl8pPr marL="34290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8pPr>
              <a:lvl9pPr marL="38862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9pPr>
            </a:lstStyle>
            <a:p>
              <a:pPr marL="0" indent="0" fontAlgn="auto">
                <a:spcAft>
                  <a:spcPts val="0"/>
                </a:spcAft>
                <a:buNone/>
              </a:pPr>
              <a:r>
                <a:rPr lang="en-GB" sz="1400" dirty="0">
                  <a:solidFill>
                    <a:prstClr val="white"/>
                  </a:solidFill>
                  <a:sym typeface="Arial"/>
                </a:rPr>
                <a:t>2</a:t>
              </a:r>
            </a:p>
          </p:txBody>
        </p:sp>
      </p:grpSp>
      <p:sp>
        <p:nvSpPr>
          <p:cNvPr id="58" name="TextBox 57"/>
          <p:cNvSpPr txBox="1">
            <a:spLocks/>
          </p:cNvSpPr>
          <p:nvPr/>
        </p:nvSpPr>
        <p:spPr>
          <a:xfrm>
            <a:off x="9451134" y="1517027"/>
            <a:ext cx="2173159" cy="4488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GB" sz="1400" dirty="0">
                <a:solidFill>
                  <a:srgbClr val="000000"/>
                </a:solidFill>
                <a:sym typeface="Arial"/>
              </a:rPr>
              <a:t>Download link to individual seller report </a:t>
            </a:r>
          </a:p>
        </p:txBody>
      </p:sp>
      <p:pic>
        <p:nvPicPr>
          <p:cNvPr id="18" name="Picture 17"/>
          <p:cNvPicPr>
            <a:picLocks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0887" y="2280964"/>
            <a:ext cx="2473406" cy="1620215"/>
          </a:xfrm>
          <a:prstGeom prst="rect">
            <a:avLst/>
          </a:prstGeom>
          <a:effectLst/>
        </p:spPr>
      </p:pic>
      <p:sp>
        <p:nvSpPr>
          <p:cNvPr id="70" name="TextBox 69"/>
          <p:cNvSpPr txBox="1">
            <a:spLocks/>
          </p:cNvSpPr>
          <p:nvPr/>
        </p:nvSpPr>
        <p:spPr>
          <a:xfrm>
            <a:off x="185116" y="1590980"/>
            <a:ext cx="1222142" cy="2244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GB" sz="1400" dirty="0">
                <a:solidFill>
                  <a:srgbClr val="000000"/>
                </a:solidFill>
                <a:sym typeface="Arial"/>
              </a:rPr>
              <a:t>Increase stock</a:t>
            </a:r>
          </a:p>
        </p:txBody>
      </p:sp>
      <p:sp>
        <p:nvSpPr>
          <p:cNvPr id="85" name="Rectangle 84"/>
          <p:cNvSpPr/>
          <p:nvPr/>
        </p:nvSpPr>
        <p:spPr>
          <a:xfrm>
            <a:off x="2067729" y="1549311"/>
            <a:ext cx="428002" cy="30777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670547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2000" kern="0" dirty="0">
                <a:solidFill>
                  <a:schemeClr val="tx2"/>
                </a:solidFill>
                <a:latin typeface="+mj-lt"/>
                <a:sym typeface="Arial"/>
              </a:rPr>
              <a:t>143</a:t>
            </a:r>
          </a:p>
        </p:txBody>
      </p:sp>
      <p:sp>
        <p:nvSpPr>
          <p:cNvPr id="71" name="TextBox 70"/>
          <p:cNvSpPr txBox="1">
            <a:spLocks/>
          </p:cNvSpPr>
          <p:nvPr/>
        </p:nvSpPr>
        <p:spPr>
          <a:xfrm>
            <a:off x="185116" y="2171440"/>
            <a:ext cx="1222142" cy="22444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GB" sz="1400" dirty="0">
                <a:solidFill>
                  <a:srgbClr val="000000"/>
                </a:solidFill>
                <a:sym typeface="Arial"/>
              </a:rPr>
              <a:t>Reduce price</a:t>
            </a:r>
          </a:p>
        </p:txBody>
      </p:sp>
      <p:sp>
        <p:nvSpPr>
          <p:cNvPr id="87" name="Rectangle 86"/>
          <p:cNvSpPr/>
          <p:nvPr/>
        </p:nvSpPr>
        <p:spPr>
          <a:xfrm>
            <a:off x="1832544" y="2129770"/>
            <a:ext cx="641201" cy="30777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670547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2000" kern="0" dirty="0">
                <a:solidFill>
                  <a:schemeClr val="tx2"/>
                </a:solidFill>
                <a:latin typeface="+mj-lt"/>
                <a:sym typeface="Arial"/>
              </a:rPr>
              <a:t>2,970</a:t>
            </a:r>
          </a:p>
        </p:txBody>
      </p:sp>
      <p:sp>
        <p:nvSpPr>
          <p:cNvPr id="72" name="TextBox 71"/>
          <p:cNvSpPr txBox="1">
            <a:spLocks/>
          </p:cNvSpPr>
          <p:nvPr/>
        </p:nvSpPr>
        <p:spPr>
          <a:xfrm>
            <a:off x="185116" y="2751899"/>
            <a:ext cx="1222142" cy="22444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GB" sz="1400" dirty="0">
                <a:solidFill>
                  <a:srgbClr val="000000"/>
                </a:solidFill>
                <a:sym typeface="Arial"/>
              </a:rPr>
              <a:t>Ensure stock</a:t>
            </a:r>
          </a:p>
        </p:txBody>
      </p:sp>
      <p:sp>
        <p:nvSpPr>
          <p:cNvPr id="89" name="Rectangle 88"/>
          <p:cNvSpPr/>
          <p:nvPr/>
        </p:nvSpPr>
        <p:spPr>
          <a:xfrm>
            <a:off x="1851748" y="2710230"/>
            <a:ext cx="641202" cy="30777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670547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2000" kern="0" dirty="0">
                <a:solidFill>
                  <a:schemeClr val="tx2"/>
                </a:solidFill>
                <a:latin typeface="+mj-lt"/>
                <a:sym typeface="Arial"/>
              </a:rPr>
              <a:t>3,134</a:t>
            </a:r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>
            <a:off x="185116" y="3336857"/>
            <a:ext cx="1222142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GB" sz="1400" b="1" dirty="0">
                <a:solidFill>
                  <a:schemeClr val="tx2"/>
                </a:solidFill>
                <a:sym typeface="Arial"/>
              </a:rPr>
              <a:t>Total</a:t>
            </a:r>
            <a:r>
              <a:rPr lang="en-GB" sz="1400" b="1" baseline="30000" dirty="0">
                <a:solidFill>
                  <a:schemeClr val="tx2"/>
                </a:solidFill>
                <a:sym typeface="Arial"/>
              </a:rPr>
              <a:t>1</a:t>
            </a:r>
            <a:r>
              <a:rPr lang="en-GB" sz="1400" b="1" dirty="0">
                <a:solidFill>
                  <a:schemeClr val="tx2"/>
                </a:solidFill>
                <a:sym typeface="Arial"/>
              </a:rPr>
              <a:t> </a:t>
            </a:r>
          </a:p>
        </p:txBody>
      </p:sp>
      <p:sp>
        <p:nvSpPr>
          <p:cNvPr id="97" name="Rectangle 96"/>
          <p:cNvSpPr/>
          <p:nvPr/>
        </p:nvSpPr>
        <p:spPr>
          <a:xfrm>
            <a:off x="1806661" y="3290689"/>
            <a:ext cx="641201" cy="30777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670547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2000" b="1" kern="0" dirty="0">
                <a:solidFill>
                  <a:schemeClr val="tx2"/>
                </a:solidFill>
                <a:latin typeface="+mj-lt"/>
                <a:sym typeface="Arial"/>
              </a:rPr>
              <a:t>6,187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4630940" y="5499421"/>
            <a:ext cx="202838" cy="202838"/>
            <a:chOff x="4743143" y="5533222"/>
            <a:chExt cx="194709" cy="194709"/>
          </a:xfrm>
        </p:grpSpPr>
        <p:sp>
          <p:nvSpPr>
            <p:cNvPr id="14" name="Oval 13"/>
            <p:cNvSpPr/>
            <p:nvPr/>
          </p:nvSpPr>
          <p:spPr>
            <a:xfrm>
              <a:off x="4743143" y="5533222"/>
              <a:ext cx="194709" cy="19470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054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980" kern="0" dirty="0">
                <a:solidFill>
                  <a:prstClr val="white"/>
                </a:solidFill>
                <a:sym typeface="Arial"/>
              </a:endParaRPr>
            </a:p>
          </p:txBody>
        </p:sp>
        <p:sp>
          <p:nvSpPr>
            <p:cNvPr id="61" name="TextBox 60"/>
            <p:cNvSpPr txBox="1">
              <a:spLocks/>
            </p:cNvSpPr>
            <p:nvPr/>
          </p:nvSpPr>
          <p:spPr>
            <a:xfrm>
              <a:off x="4792813" y="5543814"/>
              <a:ext cx="95369" cy="16064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wrap="none" lIns="0" tIns="0" rIns="0" bIns="0" rtlCol="0" anchor="ctr">
              <a:noAutofit/>
            </a:bodyPr>
            <a:lstStyle>
              <a:lvl1pPr marL="114300" lvl="0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marL="342900" lvl="1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marL="457200" lvl="2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marL="685800" lvl="3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marL="857250" lvl="4" indent="-171450" defTabSz="457200" eaLnBrk="1" hangingPunct="1">
                <a:spcBef>
                  <a:spcPct val="20000"/>
                </a:spcBef>
                <a:buFont typeface="Arial"/>
                <a:buChar char="»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marL="25146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6pPr>
              <a:lvl7pPr marL="29718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7pPr>
              <a:lvl8pPr marL="34290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8pPr>
              <a:lvl9pPr marL="38862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9pPr>
            </a:lstStyle>
            <a:p>
              <a:pPr marL="0" indent="0" algn="ctr" fontAlgn="auto">
                <a:spcAft>
                  <a:spcPts val="0"/>
                </a:spcAft>
                <a:buNone/>
              </a:pPr>
              <a:r>
                <a:rPr lang="en-GB" sz="980" dirty="0">
                  <a:solidFill>
                    <a:prstClr val="white"/>
                  </a:solidFill>
                  <a:sym typeface="Arial"/>
                </a:rPr>
                <a:t>1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859426" y="5780799"/>
            <a:ext cx="202838" cy="202838"/>
            <a:chOff x="4962472" y="5803323"/>
            <a:chExt cx="194709" cy="194709"/>
          </a:xfrm>
        </p:grpSpPr>
        <p:sp>
          <p:nvSpPr>
            <p:cNvPr id="49" name="Oval 48"/>
            <p:cNvSpPr/>
            <p:nvPr/>
          </p:nvSpPr>
          <p:spPr>
            <a:xfrm>
              <a:off x="4962472" y="5803323"/>
              <a:ext cx="194709" cy="19470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0547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980" kern="0" dirty="0">
                <a:solidFill>
                  <a:prstClr val="white"/>
                </a:solidFill>
                <a:sym typeface="Arial"/>
              </a:endParaRPr>
            </a:p>
          </p:txBody>
        </p:sp>
        <p:sp>
          <p:nvSpPr>
            <p:cNvPr id="62" name="TextBox 61"/>
            <p:cNvSpPr txBox="1">
              <a:spLocks/>
            </p:cNvSpPr>
            <p:nvPr/>
          </p:nvSpPr>
          <p:spPr>
            <a:xfrm>
              <a:off x="5012142" y="5813915"/>
              <a:ext cx="95369" cy="16064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wrap="none" lIns="0" tIns="0" rIns="0" bIns="0" rtlCol="0" anchor="ctr">
              <a:noAutofit/>
            </a:bodyPr>
            <a:lstStyle>
              <a:lvl1pPr marL="114300" lvl="0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marL="342900" lvl="1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marL="457200" lvl="2" indent="-114300" defTabSz="457200" eaLnBrk="1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marL="685800" lvl="3" indent="-171450" defTabSz="457200" eaLnBrk="1" hangingPunct="1">
                <a:spcBef>
                  <a:spcPct val="20000"/>
                </a:spcBef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marL="857250" lvl="4" indent="-171450" defTabSz="457200" eaLnBrk="1" hangingPunct="1">
                <a:spcBef>
                  <a:spcPct val="20000"/>
                </a:spcBef>
                <a:buFont typeface="Arial"/>
                <a:buChar char="»"/>
                <a:defRPr sz="1200" kern="1200"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marL="25146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6pPr>
              <a:lvl7pPr marL="29718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7pPr>
              <a:lvl8pPr marL="34290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8pPr>
              <a:lvl9pPr marL="3886200" indent="-228600" defTabSz="457200" eaLnBrk="1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</a:defRPr>
              </a:lvl9pPr>
            </a:lstStyle>
            <a:p>
              <a:pPr marL="0" indent="0" algn="ctr" fontAlgn="auto">
                <a:spcAft>
                  <a:spcPts val="0"/>
                </a:spcAft>
                <a:buNone/>
              </a:pPr>
              <a:r>
                <a:rPr lang="en-GB" sz="980" dirty="0">
                  <a:solidFill>
                    <a:prstClr val="white"/>
                  </a:solidFill>
                  <a:sym typeface="Arial"/>
                </a:rPr>
                <a:t>2</a:t>
              </a:r>
            </a:p>
          </p:txBody>
        </p:sp>
      </p:grpSp>
      <p:cxnSp>
        <p:nvCxnSpPr>
          <p:cNvPr id="59" name="Straight Connector 58"/>
          <p:cNvCxnSpPr/>
          <p:nvPr/>
        </p:nvCxnSpPr>
        <p:spPr>
          <a:xfrm>
            <a:off x="3156202" y="1517027"/>
            <a:ext cx="0" cy="4627742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/>
        </p:nvGrpSpPr>
        <p:grpSpPr>
          <a:xfrm>
            <a:off x="2952327" y="948173"/>
            <a:ext cx="407750" cy="470147"/>
            <a:chOff x="6694123" y="1666876"/>
            <a:chExt cx="270635" cy="312050"/>
          </a:xfrm>
        </p:grpSpPr>
        <p:grpSp>
          <p:nvGrpSpPr>
            <p:cNvPr id="63" name="Group 62"/>
            <p:cNvGrpSpPr/>
            <p:nvPr/>
          </p:nvGrpSpPr>
          <p:grpSpPr>
            <a:xfrm>
              <a:off x="6694123" y="1666876"/>
              <a:ext cx="180223" cy="312050"/>
              <a:chOff x="4816185" y="1082675"/>
              <a:chExt cx="710739" cy="1230621"/>
            </a:xfrm>
          </p:grpSpPr>
          <p:sp>
            <p:nvSpPr>
              <p:cNvPr id="77" name="Freeform 234"/>
              <p:cNvSpPr>
                <a:spLocks/>
              </p:cNvSpPr>
              <p:nvPr/>
            </p:nvSpPr>
            <p:spPr bwMode="auto">
              <a:xfrm>
                <a:off x="5170894" y="1389996"/>
                <a:ext cx="356030" cy="308649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8" name="Freeform 252"/>
              <p:cNvSpPr>
                <a:spLocks/>
              </p:cNvSpPr>
              <p:nvPr/>
            </p:nvSpPr>
            <p:spPr bwMode="auto">
              <a:xfrm>
                <a:off x="4816185" y="2005975"/>
                <a:ext cx="354705" cy="307321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9" name="Freeform 274"/>
              <p:cNvSpPr>
                <a:spLocks/>
              </p:cNvSpPr>
              <p:nvPr/>
            </p:nvSpPr>
            <p:spPr bwMode="auto">
              <a:xfrm>
                <a:off x="4994204" y="1698651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0" name="Freeform 340"/>
              <p:cNvSpPr>
                <a:spLocks/>
              </p:cNvSpPr>
              <p:nvPr/>
            </p:nvSpPr>
            <p:spPr bwMode="auto">
              <a:xfrm>
                <a:off x="4994204" y="1082675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1" name="Freeform 914"/>
              <p:cNvSpPr>
                <a:spLocks/>
              </p:cNvSpPr>
              <p:nvPr/>
            </p:nvSpPr>
            <p:spPr bwMode="auto">
              <a:xfrm>
                <a:off x="4816185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2" name="Freeform 940"/>
              <p:cNvSpPr>
                <a:spLocks/>
              </p:cNvSpPr>
              <p:nvPr/>
            </p:nvSpPr>
            <p:spPr bwMode="auto">
              <a:xfrm>
                <a:off x="4994204" y="1389996"/>
                <a:ext cx="354705" cy="308649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4" name="Freeform 966"/>
              <p:cNvSpPr>
                <a:spLocks/>
              </p:cNvSpPr>
              <p:nvPr/>
            </p:nvSpPr>
            <p:spPr bwMode="auto">
              <a:xfrm>
                <a:off x="5170894" y="1698651"/>
                <a:ext cx="356030" cy="307321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6" name="Freeform 1016"/>
              <p:cNvSpPr>
                <a:spLocks/>
              </p:cNvSpPr>
              <p:nvPr/>
            </p:nvSpPr>
            <p:spPr bwMode="auto">
              <a:xfrm>
                <a:off x="4994204" y="2005975"/>
                <a:ext cx="354705" cy="307321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6784872" y="1666876"/>
              <a:ext cx="179886" cy="312050"/>
              <a:chOff x="5170891" y="1082675"/>
              <a:chExt cx="709410" cy="1230621"/>
            </a:xfrm>
          </p:grpSpPr>
          <p:sp>
            <p:nvSpPr>
              <p:cNvPr id="65" name="Freeform 236"/>
              <p:cNvSpPr>
                <a:spLocks/>
              </p:cNvSpPr>
              <p:nvPr/>
            </p:nvSpPr>
            <p:spPr bwMode="auto">
              <a:xfrm>
                <a:off x="5170891" y="2005975"/>
                <a:ext cx="354705" cy="307321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6" name="Freeform 238"/>
              <p:cNvSpPr>
                <a:spLocks/>
              </p:cNvSpPr>
              <p:nvPr/>
            </p:nvSpPr>
            <p:spPr bwMode="auto">
              <a:xfrm>
                <a:off x="5525596" y="1389996"/>
                <a:ext cx="354705" cy="308649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7" name="Freeform 280"/>
              <p:cNvSpPr>
                <a:spLocks/>
              </p:cNvSpPr>
              <p:nvPr/>
            </p:nvSpPr>
            <p:spPr bwMode="auto">
              <a:xfrm>
                <a:off x="5347577" y="1698651"/>
                <a:ext cx="356030" cy="307321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8" name="Freeform 333"/>
              <p:cNvSpPr>
                <a:spLocks/>
              </p:cNvSpPr>
              <p:nvPr/>
            </p:nvSpPr>
            <p:spPr bwMode="auto">
              <a:xfrm>
                <a:off x="5347577" y="1082675"/>
                <a:ext cx="356030" cy="307321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9" name="Freeform 913"/>
              <p:cNvSpPr>
                <a:spLocks/>
              </p:cNvSpPr>
              <p:nvPr/>
            </p:nvSpPr>
            <p:spPr bwMode="auto">
              <a:xfrm>
                <a:off x="5170891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4" name="Freeform 939"/>
              <p:cNvSpPr>
                <a:spLocks/>
              </p:cNvSpPr>
              <p:nvPr/>
            </p:nvSpPr>
            <p:spPr bwMode="auto">
              <a:xfrm>
                <a:off x="5347577" y="1389996"/>
                <a:ext cx="356030" cy="308649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5" name="Freeform 965"/>
              <p:cNvSpPr>
                <a:spLocks/>
              </p:cNvSpPr>
              <p:nvPr/>
            </p:nvSpPr>
            <p:spPr bwMode="auto">
              <a:xfrm>
                <a:off x="5525596" y="1698651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6" name="Freeform 1010"/>
              <p:cNvSpPr>
                <a:spLocks/>
              </p:cNvSpPr>
              <p:nvPr/>
            </p:nvSpPr>
            <p:spPr bwMode="auto">
              <a:xfrm>
                <a:off x="5347577" y="2005975"/>
                <a:ext cx="356030" cy="307321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31" name="Group 30"/>
          <p:cNvGrpSpPr/>
          <p:nvPr/>
        </p:nvGrpSpPr>
        <p:grpSpPr>
          <a:xfrm>
            <a:off x="9652764" y="4783025"/>
            <a:ext cx="1971529" cy="1194628"/>
            <a:chOff x="9242207" y="4453866"/>
            <a:chExt cx="1892518" cy="1146752"/>
          </a:xfrm>
        </p:grpSpPr>
        <p:sp>
          <p:nvSpPr>
            <p:cNvPr id="54" name="Rectangle 4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9759944" y="4566570"/>
              <a:ext cx="1374781" cy="103404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>
                <a:defRPr sz="1100" b="1">
                  <a:solidFill>
                    <a:schemeClr val="tx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670547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GB" sz="1400" kern="0" dirty="0">
                  <a:solidFill>
                    <a:schemeClr val="tx2"/>
                  </a:solidFill>
                  <a:sym typeface="Arial"/>
                </a:rPr>
                <a:t>First results</a:t>
              </a:r>
              <a:endParaRPr lang="en-GB" sz="1400" b="0" kern="0" dirty="0">
                <a:solidFill>
                  <a:schemeClr val="tx2"/>
                </a:solidFill>
                <a:sym typeface="Arial"/>
              </a:endParaRPr>
            </a:p>
            <a:p>
              <a:pPr defTabSz="670547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GB" sz="1400" b="0" kern="0" dirty="0">
                  <a:sym typeface="Arial"/>
                </a:rPr>
                <a:t>Open rate: 40% (equal to &gt;10pp more than average)</a:t>
              </a:r>
            </a:p>
          </p:txBody>
        </p:sp>
        <p:grpSp>
          <p:nvGrpSpPr>
            <p:cNvPr id="88" name="Group 87"/>
            <p:cNvGrpSpPr/>
            <p:nvPr/>
          </p:nvGrpSpPr>
          <p:grpSpPr>
            <a:xfrm>
              <a:off x="9242207" y="4453866"/>
              <a:ext cx="391409" cy="451305"/>
              <a:chOff x="6694123" y="1666876"/>
              <a:chExt cx="270635" cy="312050"/>
            </a:xfrm>
          </p:grpSpPr>
          <p:grpSp>
            <p:nvGrpSpPr>
              <p:cNvPr id="90" name="Group 89"/>
              <p:cNvGrpSpPr/>
              <p:nvPr/>
            </p:nvGrpSpPr>
            <p:grpSpPr>
              <a:xfrm>
                <a:off x="6694123" y="1666876"/>
                <a:ext cx="180223" cy="312050"/>
                <a:chOff x="4816185" y="1082675"/>
                <a:chExt cx="710739" cy="1230621"/>
              </a:xfrm>
            </p:grpSpPr>
            <p:sp>
              <p:nvSpPr>
                <p:cNvPr id="105" name="Freeform 234"/>
                <p:cNvSpPr>
                  <a:spLocks/>
                </p:cNvSpPr>
                <p:nvPr/>
              </p:nvSpPr>
              <p:spPr bwMode="auto">
                <a:xfrm>
                  <a:off x="5170894" y="1389996"/>
                  <a:ext cx="356030" cy="308649"/>
                </a:xfrm>
                <a:custGeom>
                  <a:avLst/>
                  <a:gdLst>
                    <a:gd name="T0" fmla="*/ 804 w 804"/>
                    <a:gd name="T1" fmla="*/ 697 h 697"/>
                    <a:gd name="T2" fmla="*/ 402 w 804"/>
                    <a:gd name="T3" fmla="*/ 0 h 697"/>
                    <a:gd name="T4" fmla="*/ 0 w 804"/>
                    <a:gd name="T5" fmla="*/ 697 h 697"/>
                    <a:gd name="T6" fmla="*/ 804 w 804"/>
                    <a:gd name="T7" fmla="*/ 697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7">
                      <a:moveTo>
                        <a:pt x="804" y="697"/>
                      </a:moveTo>
                      <a:lnTo>
                        <a:pt x="402" y="0"/>
                      </a:lnTo>
                      <a:lnTo>
                        <a:pt x="0" y="697"/>
                      </a:lnTo>
                      <a:lnTo>
                        <a:pt x="804" y="69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06" name="Freeform 252"/>
                <p:cNvSpPr>
                  <a:spLocks/>
                </p:cNvSpPr>
                <p:nvPr/>
              </p:nvSpPr>
              <p:spPr bwMode="auto">
                <a:xfrm>
                  <a:off x="4816185" y="2005975"/>
                  <a:ext cx="354705" cy="307321"/>
                </a:xfrm>
                <a:custGeom>
                  <a:avLst/>
                  <a:gdLst>
                    <a:gd name="T0" fmla="*/ 0 w 801"/>
                    <a:gd name="T1" fmla="*/ 694 h 694"/>
                    <a:gd name="T2" fmla="*/ 801 w 801"/>
                    <a:gd name="T3" fmla="*/ 694 h 694"/>
                    <a:gd name="T4" fmla="*/ 402 w 801"/>
                    <a:gd name="T5" fmla="*/ 0 h 694"/>
                    <a:gd name="T6" fmla="*/ 0 w 801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0" y="694"/>
                      </a:moveTo>
                      <a:lnTo>
                        <a:pt x="801" y="694"/>
                      </a:lnTo>
                      <a:lnTo>
                        <a:pt x="402" y="0"/>
                      </a:lnTo>
                      <a:lnTo>
                        <a:pt x="0" y="694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07" name="Freeform 274"/>
                <p:cNvSpPr>
                  <a:spLocks/>
                </p:cNvSpPr>
                <p:nvPr/>
              </p:nvSpPr>
              <p:spPr bwMode="auto">
                <a:xfrm>
                  <a:off x="4994204" y="1698651"/>
                  <a:ext cx="354705" cy="307321"/>
                </a:xfrm>
                <a:custGeom>
                  <a:avLst/>
                  <a:gdLst>
                    <a:gd name="T0" fmla="*/ 801 w 801"/>
                    <a:gd name="T1" fmla="*/ 694 h 694"/>
                    <a:gd name="T2" fmla="*/ 399 w 801"/>
                    <a:gd name="T3" fmla="*/ 0 h 694"/>
                    <a:gd name="T4" fmla="*/ 0 w 801"/>
                    <a:gd name="T5" fmla="*/ 694 h 694"/>
                    <a:gd name="T6" fmla="*/ 801 w 801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694"/>
                      </a:moveTo>
                      <a:lnTo>
                        <a:pt x="399" y="0"/>
                      </a:lnTo>
                      <a:lnTo>
                        <a:pt x="0" y="694"/>
                      </a:lnTo>
                      <a:lnTo>
                        <a:pt x="801" y="694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08" name="Freeform 340"/>
                <p:cNvSpPr>
                  <a:spLocks/>
                </p:cNvSpPr>
                <p:nvPr/>
              </p:nvSpPr>
              <p:spPr bwMode="auto">
                <a:xfrm>
                  <a:off x="4994204" y="1082675"/>
                  <a:ext cx="354705" cy="307321"/>
                </a:xfrm>
                <a:custGeom>
                  <a:avLst/>
                  <a:gdLst>
                    <a:gd name="T0" fmla="*/ 801 w 801"/>
                    <a:gd name="T1" fmla="*/ 694 h 694"/>
                    <a:gd name="T2" fmla="*/ 399 w 801"/>
                    <a:gd name="T3" fmla="*/ 0 h 694"/>
                    <a:gd name="T4" fmla="*/ 0 w 801"/>
                    <a:gd name="T5" fmla="*/ 694 h 694"/>
                    <a:gd name="T6" fmla="*/ 801 w 801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694"/>
                      </a:moveTo>
                      <a:lnTo>
                        <a:pt x="399" y="0"/>
                      </a:lnTo>
                      <a:lnTo>
                        <a:pt x="0" y="694"/>
                      </a:lnTo>
                      <a:lnTo>
                        <a:pt x="801" y="694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09" name="Freeform 914"/>
                <p:cNvSpPr>
                  <a:spLocks/>
                </p:cNvSpPr>
                <p:nvPr/>
              </p:nvSpPr>
              <p:spPr bwMode="auto">
                <a:xfrm>
                  <a:off x="4816185" y="1082675"/>
                  <a:ext cx="354705" cy="307321"/>
                </a:xfrm>
                <a:custGeom>
                  <a:avLst/>
                  <a:gdLst>
                    <a:gd name="T0" fmla="*/ 801 w 801"/>
                    <a:gd name="T1" fmla="*/ 0 h 694"/>
                    <a:gd name="T2" fmla="*/ 0 w 801"/>
                    <a:gd name="T3" fmla="*/ 0 h 694"/>
                    <a:gd name="T4" fmla="*/ 402 w 801"/>
                    <a:gd name="T5" fmla="*/ 694 h 694"/>
                    <a:gd name="T6" fmla="*/ 801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10" name="Freeform 940"/>
                <p:cNvSpPr>
                  <a:spLocks/>
                </p:cNvSpPr>
                <p:nvPr/>
              </p:nvSpPr>
              <p:spPr bwMode="auto">
                <a:xfrm>
                  <a:off x="4994204" y="1389996"/>
                  <a:ext cx="354705" cy="308649"/>
                </a:xfrm>
                <a:custGeom>
                  <a:avLst/>
                  <a:gdLst>
                    <a:gd name="T0" fmla="*/ 801 w 801"/>
                    <a:gd name="T1" fmla="*/ 0 h 697"/>
                    <a:gd name="T2" fmla="*/ 0 w 801"/>
                    <a:gd name="T3" fmla="*/ 0 h 697"/>
                    <a:gd name="T4" fmla="*/ 399 w 801"/>
                    <a:gd name="T5" fmla="*/ 697 h 697"/>
                    <a:gd name="T6" fmla="*/ 801 w 801"/>
                    <a:gd name="T7" fmla="*/ 0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7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399" y="697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11" name="Freeform 966"/>
                <p:cNvSpPr>
                  <a:spLocks/>
                </p:cNvSpPr>
                <p:nvPr/>
              </p:nvSpPr>
              <p:spPr bwMode="auto">
                <a:xfrm>
                  <a:off x="5170894" y="1698651"/>
                  <a:ext cx="356030" cy="307321"/>
                </a:xfrm>
                <a:custGeom>
                  <a:avLst/>
                  <a:gdLst>
                    <a:gd name="T0" fmla="*/ 804 w 804"/>
                    <a:gd name="T1" fmla="*/ 0 h 694"/>
                    <a:gd name="T2" fmla="*/ 0 w 804"/>
                    <a:gd name="T3" fmla="*/ 0 h 694"/>
                    <a:gd name="T4" fmla="*/ 402 w 804"/>
                    <a:gd name="T5" fmla="*/ 694 h 694"/>
                    <a:gd name="T6" fmla="*/ 804 w 804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4">
                      <a:moveTo>
                        <a:pt x="804" y="0"/>
                      </a:move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804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12" name="Freeform 1016"/>
                <p:cNvSpPr>
                  <a:spLocks/>
                </p:cNvSpPr>
                <p:nvPr/>
              </p:nvSpPr>
              <p:spPr bwMode="auto">
                <a:xfrm>
                  <a:off x="4994204" y="2005975"/>
                  <a:ext cx="354705" cy="307321"/>
                </a:xfrm>
                <a:custGeom>
                  <a:avLst/>
                  <a:gdLst>
                    <a:gd name="T0" fmla="*/ 0 w 801"/>
                    <a:gd name="T1" fmla="*/ 0 h 694"/>
                    <a:gd name="T2" fmla="*/ 399 w 801"/>
                    <a:gd name="T3" fmla="*/ 694 h 694"/>
                    <a:gd name="T4" fmla="*/ 399 w 801"/>
                    <a:gd name="T5" fmla="*/ 694 h 694"/>
                    <a:gd name="T6" fmla="*/ 399 w 801"/>
                    <a:gd name="T7" fmla="*/ 694 h 694"/>
                    <a:gd name="T8" fmla="*/ 801 w 801"/>
                    <a:gd name="T9" fmla="*/ 0 h 694"/>
                    <a:gd name="T10" fmla="*/ 0 w 801"/>
                    <a:gd name="T11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01" h="694">
                      <a:moveTo>
                        <a:pt x="0" y="0"/>
                      </a:moveTo>
                      <a:lnTo>
                        <a:pt x="399" y="694"/>
                      </a:lnTo>
                      <a:lnTo>
                        <a:pt x="399" y="694"/>
                      </a:lnTo>
                      <a:lnTo>
                        <a:pt x="399" y="694"/>
                      </a:lnTo>
                      <a:lnTo>
                        <a:pt x="80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>
                <a:off x="6784872" y="1666876"/>
                <a:ext cx="179886" cy="312050"/>
                <a:chOff x="5170891" y="1082675"/>
                <a:chExt cx="709410" cy="1230621"/>
              </a:xfrm>
            </p:grpSpPr>
            <p:sp>
              <p:nvSpPr>
                <p:cNvPr id="92" name="Freeform 236"/>
                <p:cNvSpPr>
                  <a:spLocks/>
                </p:cNvSpPr>
                <p:nvPr/>
              </p:nvSpPr>
              <p:spPr bwMode="auto">
                <a:xfrm>
                  <a:off x="5170891" y="2005975"/>
                  <a:ext cx="354705" cy="307321"/>
                </a:xfrm>
                <a:custGeom>
                  <a:avLst/>
                  <a:gdLst>
                    <a:gd name="T0" fmla="*/ 399 w 801"/>
                    <a:gd name="T1" fmla="*/ 0 h 694"/>
                    <a:gd name="T2" fmla="*/ 0 w 801"/>
                    <a:gd name="T3" fmla="*/ 694 h 694"/>
                    <a:gd name="T4" fmla="*/ 801 w 801"/>
                    <a:gd name="T5" fmla="*/ 694 h 694"/>
                    <a:gd name="T6" fmla="*/ 399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399" y="0"/>
                      </a:moveTo>
                      <a:lnTo>
                        <a:pt x="0" y="694"/>
                      </a:lnTo>
                      <a:lnTo>
                        <a:pt x="801" y="694"/>
                      </a:lnTo>
                      <a:lnTo>
                        <a:pt x="399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3" name="Freeform 238"/>
                <p:cNvSpPr>
                  <a:spLocks/>
                </p:cNvSpPr>
                <p:nvPr/>
              </p:nvSpPr>
              <p:spPr bwMode="auto">
                <a:xfrm>
                  <a:off x="5525596" y="1389996"/>
                  <a:ext cx="354705" cy="308649"/>
                </a:xfrm>
                <a:custGeom>
                  <a:avLst/>
                  <a:gdLst>
                    <a:gd name="T0" fmla="*/ 801 w 801"/>
                    <a:gd name="T1" fmla="*/ 697 h 697"/>
                    <a:gd name="T2" fmla="*/ 402 w 801"/>
                    <a:gd name="T3" fmla="*/ 0 h 697"/>
                    <a:gd name="T4" fmla="*/ 0 w 801"/>
                    <a:gd name="T5" fmla="*/ 697 h 697"/>
                    <a:gd name="T6" fmla="*/ 801 w 801"/>
                    <a:gd name="T7" fmla="*/ 697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7">
                      <a:moveTo>
                        <a:pt x="801" y="697"/>
                      </a:moveTo>
                      <a:lnTo>
                        <a:pt x="402" y="0"/>
                      </a:lnTo>
                      <a:lnTo>
                        <a:pt x="0" y="697"/>
                      </a:lnTo>
                      <a:lnTo>
                        <a:pt x="801" y="69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4" name="Freeform 280"/>
                <p:cNvSpPr>
                  <a:spLocks/>
                </p:cNvSpPr>
                <p:nvPr/>
              </p:nvSpPr>
              <p:spPr bwMode="auto">
                <a:xfrm>
                  <a:off x="5347577" y="1698651"/>
                  <a:ext cx="356030" cy="307321"/>
                </a:xfrm>
                <a:custGeom>
                  <a:avLst/>
                  <a:gdLst>
                    <a:gd name="T0" fmla="*/ 402 w 804"/>
                    <a:gd name="T1" fmla="*/ 0 h 694"/>
                    <a:gd name="T2" fmla="*/ 0 w 804"/>
                    <a:gd name="T3" fmla="*/ 694 h 694"/>
                    <a:gd name="T4" fmla="*/ 804 w 804"/>
                    <a:gd name="T5" fmla="*/ 694 h 694"/>
                    <a:gd name="T6" fmla="*/ 402 w 804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4">
                      <a:moveTo>
                        <a:pt x="402" y="0"/>
                      </a:moveTo>
                      <a:lnTo>
                        <a:pt x="0" y="694"/>
                      </a:lnTo>
                      <a:lnTo>
                        <a:pt x="804" y="694"/>
                      </a:lnTo>
                      <a:lnTo>
                        <a:pt x="402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5" name="Freeform 333"/>
                <p:cNvSpPr>
                  <a:spLocks/>
                </p:cNvSpPr>
                <p:nvPr/>
              </p:nvSpPr>
              <p:spPr bwMode="auto">
                <a:xfrm>
                  <a:off x="5347577" y="1082675"/>
                  <a:ext cx="356030" cy="307321"/>
                </a:xfrm>
                <a:custGeom>
                  <a:avLst/>
                  <a:gdLst>
                    <a:gd name="T0" fmla="*/ 804 w 804"/>
                    <a:gd name="T1" fmla="*/ 694 h 694"/>
                    <a:gd name="T2" fmla="*/ 402 w 804"/>
                    <a:gd name="T3" fmla="*/ 0 h 694"/>
                    <a:gd name="T4" fmla="*/ 0 w 804"/>
                    <a:gd name="T5" fmla="*/ 694 h 694"/>
                    <a:gd name="T6" fmla="*/ 804 w 804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4">
                      <a:moveTo>
                        <a:pt x="804" y="694"/>
                      </a:moveTo>
                      <a:lnTo>
                        <a:pt x="402" y="0"/>
                      </a:lnTo>
                      <a:lnTo>
                        <a:pt x="0" y="694"/>
                      </a:lnTo>
                      <a:lnTo>
                        <a:pt x="804" y="694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6" name="Freeform 913"/>
                <p:cNvSpPr>
                  <a:spLocks/>
                </p:cNvSpPr>
                <p:nvPr/>
              </p:nvSpPr>
              <p:spPr bwMode="auto">
                <a:xfrm>
                  <a:off x="5170891" y="1082675"/>
                  <a:ext cx="354705" cy="307321"/>
                </a:xfrm>
                <a:custGeom>
                  <a:avLst/>
                  <a:gdLst>
                    <a:gd name="T0" fmla="*/ 801 w 801"/>
                    <a:gd name="T1" fmla="*/ 0 h 694"/>
                    <a:gd name="T2" fmla="*/ 0 w 801"/>
                    <a:gd name="T3" fmla="*/ 0 h 694"/>
                    <a:gd name="T4" fmla="*/ 399 w 801"/>
                    <a:gd name="T5" fmla="*/ 694 h 694"/>
                    <a:gd name="T6" fmla="*/ 801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399" y="694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8" name="Freeform 939"/>
                <p:cNvSpPr>
                  <a:spLocks/>
                </p:cNvSpPr>
                <p:nvPr/>
              </p:nvSpPr>
              <p:spPr bwMode="auto">
                <a:xfrm>
                  <a:off x="5347577" y="1389996"/>
                  <a:ext cx="356030" cy="308649"/>
                </a:xfrm>
                <a:custGeom>
                  <a:avLst/>
                  <a:gdLst>
                    <a:gd name="T0" fmla="*/ 804 w 804"/>
                    <a:gd name="T1" fmla="*/ 0 h 697"/>
                    <a:gd name="T2" fmla="*/ 0 w 804"/>
                    <a:gd name="T3" fmla="*/ 0 h 697"/>
                    <a:gd name="T4" fmla="*/ 402 w 804"/>
                    <a:gd name="T5" fmla="*/ 697 h 697"/>
                    <a:gd name="T6" fmla="*/ 804 w 804"/>
                    <a:gd name="T7" fmla="*/ 0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7">
                      <a:moveTo>
                        <a:pt x="804" y="0"/>
                      </a:moveTo>
                      <a:lnTo>
                        <a:pt x="0" y="0"/>
                      </a:lnTo>
                      <a:lnTo>
                        <a:pt x="402" y="697"/>
                      </a:lnTo>
                      <a:lnTo>
                        <a:pt x="804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9" name="Freeform 965"/>
                <p:cNvSpPr>
                  <a:spLocks/>
                </p:cNvSpPr>
                <p:nvPr/>
              </p:nvSpPr>
              <p:spPr bwMode="auto">
                <a:xfrm>
                  <a:off x="5525596" y="1698651"/>
                  <a:ext cx="354705" cy="307321"/>
                </a:xfrm>
                <a:custGeom>
                  <a:avLst/>
                  <a:gdLst>
                    <a:gd name="T0" fmla="*/ 801 w 801"/>
                    <a:gd name="T1" fmla="*/ 0 h 694"/>
                    <a:gd name="T2" fmla="*/ 0 w 801"/>
                    <a:gd name="T3" fmla="*/ 0 h 694"/>
                    <a:gd name="T4" fmla="*/ 402 w 801"/>
                    <a:gd name="T5" fmla="*/ 694 h 694"/>
                    <a:gd name="T6" fmla="*/ 801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03" name="Freeform 1010"/>
                <p:cNvSpPr>
                  <a:spLocks/>
                </p:cNvSpPr>
                <p:nvPr/>
              </p:nvSpPr>
              <p:spPr bwMode="auto">
                <a:xfrm>
                  <a:off x="5347577" y="2005975"/>
                  <a:ext cx="356030" cy="307321"/>
                </a:xfrm>
                <a:custGeom>
                  <a:avLst/>
                  <a:gdLst>
                    <a:gd name="T0" fmla="*/ 402 w 804"/>
                    <a:gd name="T1" fmla="*/ 694 h 694"/>
                    <a:gd name="T2" fmla="*/ 402 w 804"/>
                    <a:gd name="T3" fmla="*/ 694 h 694"/>
                    <a:gd name="T4" fmla="*/ 804 w 804"/>
                    <a:gd name="T5" fmla="*/ 0 h 694"/>
                    <a:gd name="T6" fmla="*/ 0 w 804"/>
                    <a:gd name="T7" fmla="*/ 0 h 694"/>
                    <a:gd name="T8" fmla="*/ 402 w 804"/>
                    <a:gd name="T9" fmla="*/ 694 h 694"/>
                    <a:gd name="T10" fmla="*/ 402 w 804"/>
                    <a:gd name="T11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04" h="694">
                      <a:moveTo>
                        <a:pt x="402" y="694"/>
                      </a:moveTo>
                      <a:lnTo>
                        <a:pt x="402" y="694"/>
                      </a:lnTo>
                      <a:lnTo>
                        <a:pt x="804" y="0"/>
                      </a:ln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402" y="694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89618" tIns="44809" rIns="89618" bIns="448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66964" y="2280964"/>
            <a:ext cx="2654300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73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036493"/>
              </p:ext>
            </p:extLst>
          </p:nvPr>
        </p:nvGraphicFramePr>
        <p:xfrm>
          <a:off x="1495130" y="841742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3" name="think-cell Slide" r:id="rId24" imgW="530" imgH="528" progId="TCLayout.ActiveDocument.1">
                  <p:embed/>
                </p:oleObj>
              </mc:Choice>
              <mc:Fallback>
                <p:oleObj name="think-cell Slide" r:id="rId2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495130" y="841742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 bwMode="auto">
          <a:xfrm>
            <a:off x="1493573" y="840184"/>
            <a:ext cx="155590" cy="15559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argeting sellers with clearly prioritized SKUs and clear recommendations proved to be very effective</a:t>
            </a:r>
          </a:p>
        </p:txBody>
      </p:sp>
      <p:graphicFrame>
        <p:nvGraphicFramePr>
          <p:cNvPr id="53" name="Chart 52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50148262"/>
              </p:ext>
            </p:extLst>
          </p:nvPr>
        </p:nvGraphicFramePr>
        <p:xfrm>
          <a:off x="393700" y="2212975"/>
          <a:ext cx="3032125" cy="313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6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709738" y="2565400"/>
            <a:ext cx="400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4FE7820-9CF5-450C-97B8-0DBC495BCD87}" type="datetime'5''''''''''''''''''''''''''''8''%'''''''''''''">
              <a:rPr lang="en-US" altLang="en-US" sz="140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58%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12775" y="5321300"/>
            <a:ext cx="4651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9513866-762F-4EB8-A4CC-1D84E2AABC26}" type="datetime'''''''''''T''''''''est''''''''&#10;g''''''''''r''''''o''u''''p'''">
              <a:rPr lang="en-GB" altLang="en-US" sz="140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None/>
              </a:pPr>
              <a:t>Test
group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68450" y="5321300"/>
            <a:ext cx="6127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28AE232-A5F1-419A-BCC2-37FBB8C99326}" type="datetime'''''C''o''''''ntr''''o''l'' g''''''roup'''' 1'''''''''''''''">
              <a:rPr lang="en-GB" altLang="en-US" sz="1400">
                <a:solidFill>
                  <a:srgbClr val="000000"/>
                </a:solidFill>
                <a:sym typeface="+mn-lt"/>
              </a:rPr>
              <a:pPr marL="0" indent="0">
                <a:spcBef>
                  <a:spcPct val="0"/>
                </a:spcBef>
                <a:buNone/>
              </a:pPr>
              <a:t>Control group 1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665413" y="4346575"/>
            <a:ext cx="400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86FD215-C0E8-4AFE-9C80-378034246F04}" type="datetime'''''''''''''''''''''''''1''''''''''''''''''6''''''''''''%'''">
              <a:rPr lang="en-US" altLang="en-US" sz="140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16%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54063" y="2057400"/>
            <a:ext cx="400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92F0CB8-BACE-49D3-8697-63D9EEA4B472}" type="datetime'''''''''7''''''''''''''''''''0''''%'''''''''''">
              <a:rPr lang="en-US" altLang="en-US" sz="140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70%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524125" y="5321300"/>
            <a:ext cx="6127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CCB10AB-4441-49CF-A48B-1A9B76BFC5F2}" type="datetime'''''''C''''o''n''''''''t''ro''''l ''''''''g''''ro''''u''p 2'">
              <a:rPr lang="en-GB" altLang="en-US" sz="1400">
                <a:solidFill>
                  <a:srgbClr val="000000"/>
                </a:solidFill>
                <a:sym typeface="+mn-lt"/>
              </a:rPr>
              <a:pPr marL="0" indent="0">
                <a:spcBef>
                  <a:spcPct val="0"/>
                </a:spcBef>
                <a:buNone/>
              </a:pPr>
              <a:t>Control group 2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graphicFrame>
        <p:nvGraphicFramePr>
          <p:cNvPr id="54" name="Chart 5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41956424"/>
              </p:ext>
            </p:extLst>
          </p:nvPr>
        </p:nvGraphicFramePr>
        <p:xfrm>
          <a:off x="3517900" y="2212975"/>
          <a:ext cx="3032125" cy="313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 useBgFill="1">
        <p:nvSpPr>
          <p:cNvPr id="5" name="Freeform 4"/>
          <p:cNvSpPr/>
          <p:nvPr>
            <p:custDataLst>
              <p:tags r:id="rId12"/>
            </p:custDataLst>
          </p:nvPr>
        </p:nvSpPr>
        <p:spPr bwMode="auto">
          <a:xfrm>
            <a:off x="3683000" y="3424238"/>
            <a:ext cx="790576" cy="269876"/>
          </a:xfrm>
          <a:custGeom>
            <a:avLst/>
            <a:gdLst/>
            <a:ahLst/>
            <a:cxnLst/>
            <a:rect l="0" t="0" r="0" b="0"/>
            <a:pathLst>
              <a:path w="790576" h="269876">
                <a:moveTo>
                  <a:pt x="0" y="212725"/>
                </a:moveTo>
                <a:lnTo>
                  <a:pt x="790575" y="0"/>
                </a:lnTo>
                <a:lnTo>
                  <a:pt x="790575" y="57150"/>
                </a:lnTo>
                <a:lnTo>
                  <a:pt x="0" y="269875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" name="Freeform 2"/>
          <p:cNvSpPr/>
          <p:nvPr>
            <p:custDataLst>
              <p:tags r:id="rId13"/>
            </p:custDataLst>
          </p:nvPr>
        </p:nvSpPr>
        <p:spPr bwMode="auto">
          <a:xfrm>
            <a:off x="3683000" y="3424238"/>
            <a:ext cx="790576" cy="212726"/>
          </a:xfrm>
          <a:custGeom>
            <a:avLst/>
            <a:gdLst/>
            <a:ahLst/>
            <a:cxnLst/>
            <a:rect l="0" t="0" r="0" b="0"/>
            <a:pathLst>
              <a:path w="790576" h="212726">
                <a:moveTo>
                  <a:pt x="0" y="212725"/>
                </a:moveTo>
                <a:lnTo>
                  <a:pt x="790575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reeform 3"/>
          <p:cNvSpPr/>
          <p:nvPr>
            <p:custDataLst>
              <p:tags r:id="rId14"/>
            </p:custDataLst>
          </p:nvPr>
        </p:nvSpPr>
        <p:spPr bwMode="auto">
          <a:xfrm>
            <a:off x="3683000" y="3481388"/>
            <a:ext cx="790576" cy="212726"/>
          </a:xfrm>
          <a:custGeom>
            <a:avLst/>
            <a:gdLst/>
            <a:ahLst/>
            <a:cxnLst/>
            <a:rect l="0" t="0" r="0" b="0"/>
            <a:pathLst>
              <a:path w="790576" h="212726">
                <a:moveTo>
                  <a:pt x="0" y="212725"/>
                </a:moveTo>
                <a:lnTo>
                  <a:pt x="790575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83150" y="4822825"/>
            <a:ext cx="3016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C0F2B2E-11AC-4BE2-B9D3-5AAE73A1530C}" type="datetime'6''''''''''''''''''''''''''''''''''''%'''''">
              <a:rPr lang="en-US" altLang="en-US" sz="140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6%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648325" y="5321300"/>
            <a:ext cx="6127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3F6BC8E-BD1E-4F51-B31E-A6F6393D9A8B}" type="datetime'''''Co''n''''t''''r''''o''l'''' ''''''''g''r''''ou''p'' 2'''">
              <a:rPr lang="en-GB" altLang="en-US" sz="1400">
                <a:solidFill>
                  <a:srgbClr val="000000"/>
                </a:solidFill>
                <a:sym typeface="+mn-lt"/>
              </a:rPr>
              <a:pPr marL="0" indent="0">
                <a:spcBef>
                  <a:spcPct val="0"/>
                </a:spcBef>
                <a:buNone/>
              </a:pPr>
              <a:t>Control group 2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692650" y="5321300"/>
            <a:ext cx="6127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9175D38-CA58-4527-BFFD-C007DD13B980}" type="datetime'Co''''''''nt''''''''''r''''ol ''''g''''ro''up'' ''''''1'">
              <a:rPr lang="en-GB" altLang="en-US" sz="1400">
                <a:solidFill>
                  <a:srgbClr val="000000"/>
                </a:solidFill>
                <a:sym typeface="+mn-lt"/>
              </a:rPr>
              <a:pPr marL="0" indent="0">
                <a:spcBef>
                  <a:spcPct val="0"/>
                </a:spcBef>
                <a:buNone/>
              </a:pPr>
              <a:t>Control group 1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736975" y="5321300"/>
            <a:ext cx="4651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ACAEF8F-BBDD-4642-9DA0-D241A44514CF}" type="datetime'''''''''''''T''''''es''''''t&#10;''g''''ro''u''''''''p'''">
              <a:rPr lang="en-GB" altLang="en-US" sz="140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None/>
              </a:pPr>
              <a:t>Test
group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829050" y="2057400"/>
            <a:ext cx="4984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9900702-B9D3-4B11-8155-4D49DAA4CBF8}" type="datetime'''''2''''''''''''''''''''9''''''6''''''''%'">
              <a:rPr lang="en-US" altLang="en-US" sz="140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296%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789613" y="4586288"/>
            <a:ext cx="400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9367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48102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97469" indent="-149367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96203" indent="-224051" algn="l" defTabSz="597469" rtl="0" eaLnBrk="1" latinLnBrk="0" hangingPunct="1">
              <a:spcBef>
                <a:spcPct val="20000"/>
              </a:spcBef>
              <a:buFont typeface="Arial"/>
              <a:buChar char="–"/>
              <a:tabLst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20254" indent="-224051" algn="l" defTabSz="597469" rtl="0" eaLnBrk="1" latinLnBrk="0" hangingPunct="1">
              <a:spcBef>
                <a:spcPct val="20000"/>
              </a:spcBef>
              <a:buFont typeface="Arial"/>
              <a:buChar char="»"/>
              <a:defRPr sz="1568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286079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83548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1017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8486" indent="-298734" algn="l" defTabSz="597469" rtl="0" eaLnBrk="1" latinLnBrk="0" hangingPunct="1">
              <a:spcBef>
                <a:spcPct val="20000"/>
              </a:spcBef>
              <a:buFont typeface="Arial"/>
              <a:buChar char="•"/>
              <a:defRPr sz="26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5E1C1A6-AF5D-48A9-B849-8D46476752D4}" type="datetime'''''''13''''''''''''''''''''''''''''''''''''''''''%'''''">
              <a:rPr lang="en-US" altLang="en-US" sz="140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13%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76250" y="1746250"/>
            <a:ext cx="2543448" cy="21544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dirty="0">
                <a:solidFill>
                  <a:schemeClr val="tx2"/>
                </a:solidFill>
                <a:cs typeface="Arial" panose="020B0604020202020204" pitchFamily="34" charset="0"/>
              </a:rPr>
              <a:t>Pilot results</a:t>
            </a:r>
            <a:r>
              <a:rPr lang="en-US" sz="1400" baseline="30000" dirty="0">
                <a:solidFill>
                  <a:schemeClr val="tx2"/>
                </a:solidFill>
                <a:cs typeface="Arial" panose="020B0604020202020204" pitchFamily="34" charset="0"/>
              </a:rPr>
              <a:t>1</a:t>
            </a:r>
            <a:r>
              <a:rPr lang="en-US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600450" y="1746250"/>
            <a:ext cx="2543448" cy="21544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dirty="0">
                <a:solidFill>
                  <a:schemeClr val="tx2"/>
                </a:solidFill>
                <a:cs typeface="Arial" panose="020B0604020202020204" pitchFamily="34" charset="0"/>
              </a:rPr>
              <a:t>Wave 4 outreach results</a:t>
            </a:r>
            <a:r>
              <a:rPr lang="en-US" sz="1400" baseline="30000" dirty="0">
                <a:solidFill>
                  <a:schemeClr val="tx2"/>
                </a:solidFill>
                <a:cs typeface="Arial" panose="020B0604020202020204" pitchFamily="34" charset="0"/>
              </a:rPr>
              <a:t>2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56" name="4. Footnote"/>
          <p:cNvSpPr txBox="1">
            <a:spLocks noChangeArrowheads="1"/>
          </p:cNvSpPr>
          <p:nvPr/>
        </p:nvSpPr>
        <p:spPr bwMode="gray">
          <a:xfrm>
            <a:off x="475488" y="6060438"/>
            <a:ext cx="1139875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Before = Oct 18-Oct 25 2016, and after = Oct 26-Nov 22 2016</a:t>
            </a:r>
          </a:p>
          <a:p>
            <a:r>
              <a:rPr lang="en-US" dirty="0"/>
              <a:t>2 Before = Oct 18-Oct 25 2016, and after = Feb 16-Feb 22 2017</a:t>
            </a:r>
          </a:p>
          <a:p>
            <a:r>
              <a:rPr lang="en-US" dirty="0"/>
              <a:t>3 Control group based on same SKUs as test group, however, only for 137 out of 194 SKUs transactions have been made in control group 2</a:t>
            </a:r>
          </a:p>
        </p:txBody>
      </p:sp>
      <p:sp>
        <p:nvSpPr>
          <p:cNvPr id="87" name="TextBox 86"/>
          <p:cNvSpPr txBox="1">
            <a:spLocks/>
          </p:cNvSpPr>
          <p:nvPr/>
        </p:nvSpPr>
        <p:spPr>
          <a:xfrm>
            <a:off x="6890843" y="1547813"/>
            <a:ext cx="883862" cy="6351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0575" tIns="70575" rIns="70575" bIns="70575" rtlCol="0" anchor="ctr" anchorCtr="0">
            <a:no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400" b="1" dirty="0">
                <a:solidFill>
                  <a:schemeClr val="bg1"/>
                </a:solidFill>
              </a:rPr>
              <a:t>Test group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9" name="TextBox 88"/>
          <p:cNvSpPr txBox="1">
            <a:spLocks/>
          </p:cNvSpPr>
          <p:nvPr/>
        </p:nvSpPr>
        <p:spPr>
          <a:xfrm>
            <a:off x="6890843" y="3481388"/>
            <a:ext cx="883862" cy="6351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0575" tIns="70575" rIns="70575" bIns="70575" rtlCol="0" anchor="ctr" anchorCtr="0">
            <a:no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chemeClr val="tx2"/>
                </a:solidFill>
              </a:rPr>
              <a:t>Control group 2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4" name="Freeform 63"/>
          <p:cNvSpPr>
            <a:spLocks/>
          </p:cNvSpPr>
          <p:nvPr/>
        </p:nvSpPr>
        <p:spPr>
          <a:xfrm flipV="1">
            <a:off x="475488" y="1347788"/>
            <a:ext cx="5977699" cy="139406"/>
          </a:xfrm>
          <a:custGeom>
            <a:avLst/>
            <a:gdLst>
              <a:gd name="connsiteX0" fmla="*/ 0 w 904875"/>
              <a:gd name="connsiteY0" fmla="*/ 0 h 200025"/>
              <a:gd name="connsiteX1" fmla="*/ 0 w 904875"/>
              <a:gd name="connsiteY1" fmla="*/ 200025 h 200025"/>
              <a:gd name="connsiteX2" fmla="*/ 904875 w 904875"/>
              <a:gd name="connsiteY2" fmla="*/ 200025 h 200025"/>
              <a:gd name="connsiteX3" fmla="*/ 904875 w 904875"/>
              <a:gd name="connsiteY3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4875" h="200025">
                <a:moveTo>
                  <a:pt x="0" y="0"/>
                </a:moveTo>
                <a:lnTo>
                  <a:pt x="0" y="200025"/>
                </a:lnTo>
                <a:lnTo>
                  <a:pt x="904875" y="200025"/>
                </a:lnTo>
                <a:lnTo>
                  <a:pt x="904875" y="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23" name="TextBox 122"/>
          <p:cNvSpPr txBox="1">
            <a:spLocks/>
          </p:cNvSpPr>
          <p:nvPr/>
        </p:nvSpPr>
        <p:spPr>
          <a:xfrm>
            <a:off x="1561025" y="1212850"/>
            <a:ext cx="4087300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7432" tIns="0" rIns="27432" bIns="0" rtlCol="0" anchor="b" anchorCtr="0">
            <a:sp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chemeClr val="tx2"/>
                </a:solidFill>
              </a:rPr>
              <a:t>Daily revenue change before and after outreach </a:t>
            </a:r>
          </a:p>
        </p:txBody>
      </p:sp>
      <p:cxnSp>
        <p:nvCxnSpPr>
          <p:cNvPr id="72" name="Straight Connector 71"/>
          <p:cNvCxnSpPr>
            <a:cxnSpLocks/>
          </p:cNvCxnSpPr>
          <p:nvPr/>
        </p:nvCxnSpPr>
        <p:spPr>
          <a:xfrm>
            <a:off x="6890843" y="4281488"/>
            <a:ext cx="452995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>
            <a:spLocks/>
          </p:cNvSpPr>
          <p:nvPr/>
        </p:nvSpPr>
        <p:spPr>
          <a:xfrm>
            <a:off x="6890842" y="2514600"/>
            <a:ext cx="883862" cy="6351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0575" tIns="70575" rIns="70575" bIns="70575" rtlCol="0" anchor="ctr" anchorCtr="0">
            <a:noAutofit/>
          </a:bodyPr>
          <a:lstStyle>
            <a:lvl1pPr marL="114300" lvl="0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lvl="1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2pPr>
            <a:lvl3pPr marL="457200" lvl="2" indent="-114300" defTabSz="457200" eaLnBrk="1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3pPr>
            <a:lvl4pPr marL="685800" lvl="3" indent="-171450" defTabSz="457200" eaLnBrk="1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4pPr>
            <a:lvl5pPr marL="857250" lvl="4" indent="-171450" defTabSz="457200" eaLnBrk="1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cs typeface="Arial"/>
              </a:defRPr>
            </a:lvl5pPr>
            <a:lvl6pPr marL="25146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6pPr>
            <a:lvl7pPr marL="29718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7pPr>
            <a:lvl8pPr marL="34290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8pPr>
            <a:lvl9pPr marL="3886200" indent="-228600" defTabSz="457200" eaLnBrk="1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</a:defRPr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400" b="1" dirty="0">
                <a:solidFill>
                  <a:schemeClr val="bg1"/>
                </a:solidFill>
              </a:rPr>
              <a:t>Control group 1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92" name="Straight Connector 91"/>
          <p:cNvCxnSpPr>
            <a:cxnSpLocks/>
          </p:cNvCxnSpPr>
          <p:nvPr/>
        </p:nvCxnSpPr>
        <p:spPr>
          <a:xfrm>
            <a:off x="7889006" y="3314700"/>
            <a:ext cx="3555979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>
            <a:cxnSpLocks/>
          </p:cNvCxnSpPr>
          <p:nvPr/>
        </p:nvCxnSpPr>
        <p:spPr>
          <a:xfrm>
            <a:off x="7889006" y="2349500"/>
            <a:ext cx="3555979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7889006" y="1547813"/>
            <a:ext cx="273042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400" dirty="0" smtClean="0">
                <a:cs typeface="Arial" panose="020B0604020202020204" pitchFamily="34" charset="0"/>
              </a:rPr>
              <a:t>Contacted sellers</a:t>
            </a:r>
          </a:p>
          <a:p>
            <a:pPr lvl="1"/>
            <a:r>
              <a:rPr lang="en-US" sz="1400" dirty="0" smtClean="0">
                <a:cs typeface="Arial" panose="020B0604020202020204" pitchFamily="34" charset="0"/>
              </a:rPr>
              <a:t>Prioritized SKUs that changed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889006" y="2514600"/>
            <a:ext cx="273042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400" dirty="0" smtClean="0">
                <a:cs typeface="Arial" panose="020B0604020202020204" pitchFamily="34" charset="0"/>
              </a:rPr>
              <a:t>Contacted sellers</a:t>
            </a:r>
          </a:p>
          <a:p>
            <a:pPr lvl="1"/>
            <a:r>
              <a:rPr lang="en-US" sz="1400" dirty="0" smtClean="0">
                <a:cs typeface="Arial" panose="020B0604020202020204" pitchFamily="34" charset="0"/>
              </a:rPr>
              <a:t>Other non-prioritized SKUs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889006" y="3481388"/>
            <a:ext cx="273042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400" dirty="0" smtClean="0">
                <a:cs typeface="Arial" panose="020B0604020202020204" pitchFamily="34" charset="0"/>
              </a:rPr>
              <a:t>Non-contacted sellers</a:t>
            </a:r>
          </a:p>
          <a:p>
            <a:pPr lvl="1"/>
            <a:r>
              <a:rPr lang="en-US" sz="1400" dirty="0" smtClean="0">
                <a:cs typeface="Arial" panose="020B0604020202020204" pitchFamily="34" charset="0"/>
              </a:rPr>
              <a:t>Prioritized SKUs that changed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>
            <p:custDataLst>
              <p:tags r:id="rId21"/>
            </p:custDataLst>
          </p:nvPr>
        </p:nvSpPr>
        <p:spPr>
          <a:xfrm>
            <a:off x="6890843" y="4511675"/>
            <a:ext cx="4529953" cy="12926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Since the pilot there have been </a:t>
            </a:r>
            <a:r>
              <a:rPr lang="en-US" sz="14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8 further waves </a:t>
            </a:r>
            <a:r>
              <a:rPr lang="en-US" sz="1400" dirty="0" smtClean="0">
                <a:cs typeface="Arial" panose="020B0604020202020204" pitchFamily="34" charset="0"/>
              </a:rPr>
              <a:t>of outreach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They contacted </a:t>
            </a:r>
            <a:r>
              <a:rPr lang="en-US" sz="14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2000 sellers </a:t>
            </a:r>
            <a:r>
              <a:rPr lang="en-US" sz="1400" dirty="0" smtClean="0">
                <a:cs typeface="Arial" panose="020B0604020202020204" pitchFamily="34" charset="0"/>
              </a:rPr>
              <a:t>(now increasing to 4000) </a:t>
            </a:r>
            <a:r>
              <a:rPr lang="en-US" sz="14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via emails and calls</a:t>
            </a:r>
            <a:endParaRPr lang="en-US" sz="1400" dirty="0" smtClean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lvl="1">
              <a:spcBef>
                <a:spcPct val="500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This has </a:t>
            </a:r>
            <a:r>
              <a:rPr lang="en-US" sz="14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strengthened the results </a:t>
            </a:r>
            <a:r>
              <a:rPr lang="en-US" sz="1400" dirty="0" smtClean="0">
                <a:cs typeface="Arial" panose="020B0604020202020204" pitchFamily="34" charset="0"/>
              </a:rPr>
              <a:t>for the test group</a:t>
            </a:r>
            <a:endParaRPr lang="en-US" sz="1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62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THINKCELLUNDODONOTDELETE" val="0"/>
  <p:tag name="PREVIOUSNAME" val="C:\Users\Thangavelu Subramani\Desktop\New folder\HIT025_Personalized inventory management using analytic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shq.h4SsKVMS9ll6Igl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KcAzEjFkSTmz5c7ZxxI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SP92J3Swu95b1qO3yB4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7BMR2SiillhMvKcXoK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3b0pE1QpOf0fMD_O4L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F4Qe0GQriQ_0Wb5NJXA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MaLn37SwOOdDjkMGBsV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uSIj9RStawp5B2.v2EB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zUQvQdSIy3kYk3CnWN1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BW8GDpQ8KC3jqeO7Wye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Da8rQ_SGCInS1x8QsnS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bNVLyNTeGHGcnCeHbhX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lMJnMRSW.E42NdUrWmJ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jZ9h8xQrCcxCyNFpO3C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Q.HwTUQ3uvPcdUk6ZHr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GrS8a7SY.pmo4ffAH7J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QgToMATYu5vitI1G_ok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ia1x0AR7ed5xyfGb5eg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TCDbO0R2CaCGsMBq3h_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PmJUJ1TcOkVFrOnz4xf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u.KXdsQKawaE55tBg7f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JiVwZeSBGI_1Im.TP4z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GYyaSmRnCQN4F7XvXr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23</Words>
  <Application>Microsoft Macintosh PowerPoint</Application>
  <PresentationFormat>Custom</PresentationFormat>
  <Paragraphs>123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8" baseType="lpstr">
      <vt:lpstr>Wingdings</vt:lpstr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think-cell Slide</vt:lpstr>
      <vt:lpstr>Emerging themes and first ideas</vt:lpstr>
      <vt:lpstr>We used analytics to personalize seller management on a large scale </vt:lpstr>
      <vt:lpstr>Our objective was to test and learn end to end inventory cycle approach for best-selling SKUs </vt:lpstr>
      <vt:lpstr>In the pilot, we pragmatically used a simple Excel to provide personalised seller reports with SKU recommendations to target sellers </vt:lpstr>
      <vt:lpstr>We reached out via email and calls to 172 unmanaged sellers that cover 7,000 SKUs</vt:lpstr>
      <vt:lpstr>Targeting sellers with clearly prioritized SKUs and clear recommendations proved to be very effective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1-17T22:06:58Z</dcterms:modified>
  <cp:category/>
  <cp:contentStatus/>
  <dc:language/>
  <cp:version/>
</cp:coreProperties>
</file>